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Default Extension="gif" ContentType="image/gif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00" r:id="rId2"/>
    <p:sldId id="301" r:id="rId3"/>
    <p:sldId id="320" r:id="rId4"/>
    <p:sldId id="326" r:id="rId5"/>
    <p:sldId id="314" r:id="rId6"/>
    <p:sldId id="315" r:id="rId7"/>
    <p:sldId id="316" r:id="rId8"/>
    <p:sldId id="317" r:id="rId9"/>
    <p:sldId id="319" r:id="rId10"/>
    <p:sldId id="322" r:id="rId11"/>
    <p:sldId id="324" r:id="rId12"/>
  </p:sldIdLst>
  <p:sldSz cx="12192000" cy="6858000"/>
  <p:notesSz cx="6805613" cy="99441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егдальский Денис Игоревич" initials="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62C7F1"/>
    <a:srgbClr val="CEE1F2"/>
    <a:srgbClr val="176BBD"/>
    <a:srgbClr val="49198B"/>
    <a:srgbClr val="2A3393"/>
    <a:srgbClr val="E3EAF6"/>
    <a:srgbClr val="2C2D8F"/>
    <a:srgbClr val="668CC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408" autoAdjust="0"/>
  </p:normalViewPr>
  <p:slideViewPr>
    <p:cSldViewPr snapToGrid="0">
      <p:cViewPr varScale="1">
        <p:scale>
          <a:sx n="80" d="100"/>
          <a:sy n="80" d="100"/>
        </p:scale>
        <p:origin x="-78" y="-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23DD545-7BBE-41A8-B0B5-9D7FDFEB1623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86313"/>
            <a:ext cx="5443537" cy="3914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843181F2-9F97-4A97-8FA0-2BB6A22653E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z="1400" smtClean="0"/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3F9349B-E18E-44EA-AFD5-BAF509C0E417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3584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DF7B47E-306A-47D2-BAC6-F0F04F7F0BBF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1945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3888124-5B95-4751-BFD6-61536F53DA8A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150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DD8CC5F-F58A-4D05-A147-250A528B2A14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355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D1ACF3A-5AC5-431D-8C3A-17CA2E06AAA3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560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5531CAC-8D6F-45C2-A229-30610891D483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76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9093B24-2178-45F1-B7E7-BE4749EC84C9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969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49A537C-D1E1-445A-B017-7CD62E8ACB16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D9238F3-E001-4AD5-B8B7-4276059FB1C5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3379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BA28FC0-E765-4166-B9D5-D9149E15667C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A6ED6-66DE-414C-AC0B-D8DDC8E6D899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D68489-DEE0-439E-BA73-EB50068849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16F30C-1F6D-47CD-802D-D7C1F5585D11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9ECB3-A679-47D2-B924-6BE4F91AF1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006B87-1DDA-4C7E-BB29-ECE17F98D6BC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5C38FF-1E3D-48B2-A6DA-56C619B1238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9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</p:spPr>
        <p:txBody>
          <a:bodyPr/>
          <a:lstStyle>
            <a:lvl1pPr algn="ctr"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96BD3D-B702-4506-95EE-B17DCDE7C0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D6248B-8701-41C4-8001-8000F2FC420D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E99F8C-01D8-4731-B639-E4ED1B4A37F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DC9637-A900-43A7-9C45-D057D1A87CAA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B5FBBD-6DE4-407E-B7F1-988A9A82C0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E3E38A-F743-44B4-81E1-5413D548BD92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C7523C-79D8-4B61-9114-02422369413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F84A76-15FF-4322-B910-76D71B2FB14B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A8D9D5-E831-4049-BDF8-3DC8F6110B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9EA207-0EFB-4D33-BCF2-D818975A33DC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871B60-6521-4FF6-B469-9B75A951217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1F81E0-F7ED-4B06-9D2E-0A7B1FDBEDC3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0F0501-A915-40C6-9D11-73BB47F106A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E0027-3CD6-4BC6-8EC7-4CD41B2A14EB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A09AC-8206-4B13-9F40-C0109A34E4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C80F0-A546-48A2-9017-C0F28207C40E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5037B0-725D-4CE2-BDDC-010E360EB7A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1300D43-BD19-43A1-A13B-7101098DDC0A}" type="datetimeFigureOut">
              <a:rPr lang="ru-RU"/>
              <a:pPr>
                <a:defRPr/>
              </a:pPr>
              <a:t>04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53B6869-C824-465D-B585-BBB0E380A6D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  <p:sldLayoutId id="2147483661" r:id="rId12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image" Target="../media/image2.jpe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vopros@prosv.ru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24.gif"/><Relationship Id="rId4" Type="http://schemas.openxmlformats.org/officeDocument/2006/relationships/hyperlink" Target="https://shop.prosv.ru/formirovanie-funkcionalnoj-gramotnosti-sbornik-zadach-po-russkomu-yazyku-dlya-8-11-klassov2781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jpe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eg"/><Relationship Id="rId3" Type="http://schemas.openxmlformats.org/officeDocument/2006/relationships/image" Target="../media/image2.jpeg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jpeg"/><Relationship Id="rId15" Type="http://schemas.openxmlformats.org/officeDocument/2006/relationships/image" Target="../media/image20.jpeg"/><Relationship Id="rId10" Type="http://schemas.openxmlformats.org/officeDocument/2006/relationships/image" Target="../media/image15.png"/><Relationship Id="rId4" Type="http://schemas.openxmlformats.org/officeDocument/2006/relationships/image" Target="../media/image3.png"/><Relationship Id="rId9" Type="http://schemas.openxmlformats.org/officeDocument/2006/relationships/image" Target="../media/image14.jpeg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34" name="Рисунок 25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332" name="Object 68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32" name="Слайд think-cell" r:id="rId8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/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400" dirty="0">
              <a:solidFill>
                <a:prstClr val="white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11336" name="AutoShape 4"/>
          <p:cNvSpPr>
            <a:spLocks noChangeAspect="1" noChangeArrowheads="1" noTextEdit="1"/>
          </p:cNvSpPr>
          <p:nvPr/>
        </p:nvSpPr>
        <p:spPr bwMode="auto">
          <a:xfrm>
            <a:off x="10099675" y="301625"/>
            <a:ext cx="1500188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47686" y="365467"/>
            <a:ext cx="10216392" cy="387798"/>
          </a:xfrm>
        </p:spPr>
        <p:txBody>
          <a:bodyPr lIns="0" tIns="0" rIns="0" bIns="0" rtlCol="0">
            <a:sp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хнологии 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удущего…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47686" y="2256923"/>
            <a:ext cx="11063264" cy="1495794"/>
          </a:xfrm>
        </p:spPr>
        <p:txBody>
          <a:bodyPr lIns="0" tIns="0" rIns="0" bIns="0" rtlCol="0" anchor="b">
            <a:spAutoFit/>
          </a:bodyPr>
          <a:lstStyle/>
          <a:p>
            <a:pPr algn="l" fontAlgn="auto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5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Комплексный образовательный проект «ГЕНЕТИКА»</a:t>
            </a:r>
            <a:endParaRPr lang="ru-RU" sz="5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339" name="Рисунок 23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688638" y="188913"/>
            <a:ext cx="13525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340" name="Группа 8"/>
          <p:cNvGrpSpPr>
            <a:grpSpLocks/>
          </p:cNvGrpSpPr>
          <p:nvPr/>
        </p:nvGrpSpPr>
        <p:grpSpPr bwMode="auto">
          <a:xfrm>
            <a:off x="8831263" y="128588"/>
            <a:ext cx="1268412" cy="438150"/>
            <a:chOff x="254665" y="195486"/>
            <a:chExt cx="951720" cy="329081"/>
          </a:xfrm>
        </p:grpSpPr>
        <p:sp>
          <p:nvSpPr>
            <p:cNvPr id="11341" name="Freeform 6"/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>
                <a:gd name="T0" fmla="*/ 1505 w 1509"/>
                <a:gd name="T1" fmla="*/ 0 h 84"/>
                <a:gd name="T2" fmla="*/ 0 w 1509"/>
                <a:gd name="T3" fmla="*/ 0 h 84"/>
                <a:gd name="T4" fmla="*/ 0 w 1509"/>
                <a:gd name="T5" fmla="*/ 84 h 84"/>
                <a:gd name="T6" fmla="*/ 1509 w 1509"/>
                <a:gd name="T7" fmla="*/ 84 h 84"/>
                <a:gd name="T8" fmla="*/ 1505 w 1509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09"/>
                <a:gd name="T16" fmla="*/ 0 h 84"/>
                <a:gd name="T17" fmla="*/ 1509 w 1509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2" name="Freeform 7"/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>
                <a:gd name="T0" fmla="*/ 1510 w 1510"/>
                <a:gd name="T1" fmla="*/ 0 h 84"/>
                <a:gd name="T2" fmla="*/ 9 w 1510"/>
                <a:gd name="T3" fmla="*/ 0 h 84"/>
                <a:gd name="T4" fmla="*/ 0 w 1510"/>
                <a:gd name="T5" fmla="*/ 84 h 84"/>
                <a:gd name="T6" fmla="*/ 1510 w 1510"/>
                <a:gd name="T7" fmla="*/ 84 h 84"/>
                <a:gd name="T8" fmla="*/ 1510 w 1510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10"/>
                <a:gd name="T16" fmla="*/ 0 h 84"/>
                <a:gd name="T17" fmla="*/ 1510 w 1510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3" name="Freeform 8"/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>
                <a:gd name="T0" fmla="*/ 0 w 342"/>
                <a:gd name="T1" fmla="*/ 17 h 309"/>
                <a:gd name="T2" fmla="*/ 42 w 342"/>
                <a:gd name="T3" fmla="*/ 26 h 309"/>
                <a:gd name="T4" fmla="*/ 42 w 342"/>
                <a:gd name="T5" fmla="*/ 283 h 309"/>
                <a:gd name="T6" fmla="*/ 0 w 342"/>
                <a:gd name="T7" fmla="*/ 292 h 309"/>
                <a:gd name="T8" fmla="*/ 0 w 342"/>
                <a:gd name="T9" fmla="*/ 309 h 309"/>
                <a:gd name="T10" fmla="*/ 148 w 342"/>
                <a:gd name="T11" fmla="*/ 309 h 309"/>
                <a:gd name="T12" fmla="*/ 148 w 342"/>
                <a:gd name="T13" fmla="*/ 292 h 309"/>
                <a:gd name="T14" fmla="*/ 106 w 342"/>
                <a:gd name="T15" fmla="*/ 283 h 309"/>
                <a:gd name="T16" fmla="*/ 106 w 342"/>
                <a:gd name="T17" fmla="*/ 30 h 309"/>
                <a:gd name="T18" fmla="*/ 232 w 342"/>
                <a:gd name="T19" fmla="*/ 30 h 309"/>
                <a:gd name="T20" fmla="*/ 232 w 342"/>
                <a:gd name="T21" fmla="*/ 283 h 309"/>
                <a:gd name="T22" fmla="*/ 190 w 342"/>
                <a:gd name="T23" fmla="*/ 292 h 309"/>
                <a:gd name="T24" fmla="*/ 190 w 342"/>
                <a:gd name="T25" fmla="*/ 309 h 309"/>
                <a:gd name="T26" fmla="*/ 342 w 342"/>
                <a:gd name="T27" fmla="*/ 309 h 309"/>
                <a:gd name="T28" fmla="*/ 342 w 342"/>
                <a:gd name="T29" fmla="*/ 292 h 309"/>
                <a:gd name="T30" fmla="*/ 300 w 342"/>
                <a:gd name="T31" fmla="*/ 283 h 309"/>
                <a:gd name="T32" fmla="*/ 300 w 342"/>
                <a:gd name="T33" fmla="*/ 26 h 309"/>
                <a:gd name="T34" fmla="*/ 342 w 342"/>
                <a:gd name="T35" fmla="*/ 17 h 309"/>
                <a:gd name="T36" fmla="*/ 342 w 342"/>
                <a:gd name="T37" fmla="*/ 0 h 309"/>
                <a:gd name="T38" fmla="*/ 0 w 342"/>
                <a:gd name="T39" fmla="*/ 0 h 309"/>
                <a:gd name="T40" fmla="*/ 0 w 342"/>
                <a:gd name="T41" fmla="*/ 17 h 3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2"/>
                <a:gd name="T64" fmla="*/ 0 h 309"/>
                <a:gd name="T65" fmla="*/ 342 w 342"/>
                <a:gd name="T66" fmla="*/ 309 h 3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>
                <a:gd name="T0" fmla="*/ 148 w 236"/>
                <a:gd name="T1" fmla="*/ 0 h 309"/>
                <a:gd name="T2" fmla="*/ 139 w 236"/>
                <a:gd name="T3" fmla="*/ 0 h 309"/>
                <a:gd name="T4" fmla="*/ 0 w 236"/>
                <a:gd name="T5" fmla="*/ 0 h 309"/>
                <a:gd name="T6" fmla="*/ 0 w 236"/>
                <a:gd name="T7" fmla="*/ 17 h 309"/>
                <a:gd name="T8" fmla="*/ 38 w 236"/>
                <a:gd name="T9" fmla="*/ 26 h 309"/>
                <a:gd name="T10" fmla="*/ 38 w 236"/>
                <a:gd name="T11" fmla="*/ 283 h 309"/>
                <a:gd name="T12" fmla="*/ 0 w 236"/>
                <a:gd name="T13" fmla="*/ 292 h 309"/>
                <a:gd name="T14" fmla="*/ 0 w 236"/>
                <a:gd name="T15" fmla="*/ 309 h 309"/>
                <a:gd name="T16" fmla="*/ 139 w 236"/>
                <a:gd name="T17" fmla="*/ 309 h 309"/>
                <a:gd name="T18" fmla="*/ 156 w 236"/>
                <a:gd name="T19" fmla="*/ 309 h 309"/>
                <a:gd name="T20" fmla="*/ 156 w 236"/>
                <a:gd name="T21" fmla="*/ 292 h 309"/>
                <a:gd name="T22" fmla="*/ 139 w 236"/>
                <a:gd name="T23" fmla="*/ 288 h 309"/>
                <a:gd name="T24" fmla="*/ 101 w 236"/>
                <a:gd name="T25" fmla="*/ 283 h 309"/>
                <a:gd name="T26" fmla="*/ 101 w 236"/>
                <a:gd name="T27" fmla="*/ 178 h 309"/>
                <a:gd name="T28" fmla="*/ 127 w 236"/>
                <a:gd name="T29" fmla="*/ 178 h 309"/>
                <a:gd name="T30" fmla="*/ 139 w 236"/>
                <a:gd name="T31" fmla="*/ 178 h 309"/>
                <a:gd name="T32" fmla="*/ 236 w 236"/>
                <a:gd name="T33" fmla="*/ 81 h 309"/>
                <a:gd name="T34" fmla="*/ 148 w 236"/>
                <a:gd name="T35" fmla="*/ 0 h 309"/>
                <a:gd name="T36" fmla="*/ 139 w 236"/>
                <a:gd name="T37" fmla="*/ 161 h 309"/>
                <a:gd name="T38" fmla="*/ 139 w 236"/>
                <a:gd name="T39" fmla="*/ 161 h 309"/>
                <a:gd name="T40" fmla="*/ 118 w 236"/>
                <a:gd name="T41" fmla="*/ 161 h 309"/>
                <a:gd name="T42" fmla="*/ 101 w 236"/>
                <a:gd name="T43" fmla="*/ 161 h 309"/>
                <a:gd name="T44" fmla="*/ 101 w 236"/>
                <a:gd name="T45" fmla="*/ 21 h 309"/>
                <a:gd name="T46" fmla="*/ 118 w 236"/>
                <a:gd name="T47" fmla="*/ 21 h 309"/>
                <a:gd name="T48" fmla="*/ 139 w 236"/>
                <a:gd name="T49" fmla="*/ 26 h 309"/>
                <a:gd name="T50" fmla="*/ 173 w 236"/>
                <a:gd name="T51" fmla="*/ 93 h 309"/>
                <a:gd name="T52" fmla="*/ 139 w 236"/>
                <a:gd name="T53" fmla="*/ 161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6"/>
                <a:gd name="T82" fmla="*/ 0 h 309"/>
                <a:gd name="T83" fmla="*/ 236 w 236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>
                <a:gd name="T0" fmla="*/ 160 w 317"/>
                <a:gd name="T1" fmla="*/ 0 h 317"/>
                <a:gd name="T2" fmla="*/ 156 w 317"/>
                <a:gd name="T3" fmla="*/ 0 h 317"/>
                <a:gd name="T4" fmla="*/ 0 w 317"/>
                <a:gd name="T5" fmla="*/ 156 h 317"/>
                <a:gd name="T6" fmla="*/ 156 w 317"/>
                <a:gd name="T7" fmla="*/ 317 h 317"/>
                <a:gd name="T8" fmla="*/ 160 w 317"/>
                <a:gd name="T9" fmla="*/ 317 h 317"/>
                <a:gd name="T10" fmla="*/ 317 w 317"/>
                <a:gd name="T11" fmla="*/ 156 h 317"/>
                <a:gd name="T12" fmla="*/ 160 w 317"/>
                <a:gd name="T13" fmla="*/ 0 h 317"/>
                <a:gd name="T14" fmla="*/ 160 w 317"/>
                <a:gd name="T15" fmla="*/ 300 h 317"/>
                <a:gd name="T16" fmla="*/ 160 w 317"/>
                <a:gd name="T17" fmla="*/ 300 h 317"/>
                <a:gd name="T18" fmla="*/ 156 w 317"/>
                <a:gd name="T19" fmla="*/ 300 h 317"/>
                <a:gd name="T20" fmla="*/ 72 w 317"/>
                <a:gd name="T21" fmla="*/ 148 h 317"/>
                <a:gd name="T22" fmla="*/ 156 w 317"/>
                <a:gd name="T23" fmla="*/ 17 h 317"/>
                <a:gd name="T24" fmla="*/ 245 w 317"/>
                <a:gd name="T25" fmla="*/ 169 h 317"/>
                <a:gd name="T26" fmla="*/ 160 w 317"/>
                <a:gd name="T27" fmla="*/ 300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7"/>
                <a:gd name="T43" fmla="*/ 0 h 317"/>
                <a:gd name="T44" fmla="*/ 317 w 317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6" name="Freeform 11"/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>
                <a:gd name="T0" fmla="*/ 190 w 292"/>
                <a:gd name="T1" fmla="*/ 296 h 317"/>
                <a:gd name="T2" fmla="*/ 72 w 292"/>
                <a:gd name="T3" fmla="*/ 156 h 317"/>
                <a:gd name="T4" fmla="*/ 173 w 292"/>
                <a:gd name="T5" fmla="*/ 21 h 317"/>
                <a:gd name="T6" fmla="*/ 266 w 292"/>
                <a:gd name="T7" fmla="*/ 101 h 317"/>
                <a:gd name="T8" fmla="*/ 283 w 292"/>
                <a:gd name="T9" fmla="*/ 101 h 317"/>
                <a:gd name="T10" fmla="*/ 283 w 292"/>
                <a:gd name="T11" fmla="*/ 17 h 317"/>
                <a:gd name="T12" fmla="*/ 262 w 292"/>
                <a:gd name="T13" fmla="*/ 17 h 317"/>
                <a:gd name="T14" fmla="*/ 165 w 292"/>
                <a:gd name="T15" fmla="*/ 0 h 317"/>
                <a:gd name="T16" fmla="*/ 0 w 292"/>
                <a:gd name="T17" fmla="*/ 152 h 317"/>
                <a:gd name="T18" fmla="*/ 165 w 292"/>
                <a:gd name="T19" fmla="*/ 317 h 317"/>
                <a:gd name="T20" fmla="*/ 292 w 292"/>
                <a:gd name="T21" fmla="*/ 287 h 317"/>
                <a:gd name="T22" fmla="*/ 292 w 292"/>
                <a:gd name="T23" fmla="*/ 241 h 317"/>
                <a:gd name="T24" fmla="*/ 283 w 292"/>
                <a:gd name="T25" fmla="*/ 241 h 317"/>
                <a:gd name="T26" fmla="*/ 190 w 292"/>
                <a:gd name="T27" fmla="*/ 296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92"/>
                <a:gd name="T43" fmla="*/ 0 h 317"/>
                <a:gd name="T44" fmla="*/ 292 w 292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>
                <a:gd name="T0" fmla="*/ 174 w 254"/>
                <a:gd name="T1" fmla="*/ 148 h 309"/>
                <a:gd name="T2" fmla="*/ 174 w 254"/>
                <a:gd name="T3" fmla="*/ 144 h 309"/>
                <a:gd name="T4" fmla="*/ 241 w 254"/>
                <a:gd name="T5" fmla="*/ 72 h 309"/>
                <a:gd name="T6" fmla="*/ 140 w 254"/>
                <a:gd name="T7" fmla="*/ 0 h 309"/>
                <a:gd name="T8" fmla="*/ 0 w 254"/>
                <a:gd name="T9" fmla="*/ 0 h 309"/>
                <a:gd name="T10" fmla="*/ 0 w 254"/>
                <a:gd name="T11" fmla="*/ 17 h 309"/>
                <a:gd name="T12" fmla="*/ 38 w 254"/>
                <a:gd name="T13" fmla="*/ 26 h 309"/>
                <a:gd name="T14" fmla="*/ 38 w 254"/>
                <a:gd name="T15" fmla="*/ 283 h 309"/>
                <a:gd name="T16" fmla="*/ 0 w 254"/>
                <a:gd name="T17" fmla="*/ 292 h 309"/>
                <a:gd name="T18" fmla="*/ 0 w 254"/>
                <a:gd name="T19" fmla="*/ 309 h 309"/>
                <a:gd name="T20" fmla="*/ 140 w 254"/>
                <a:gd name="T21" fmla="*/ 309 h 309"/>
                <a:gd name="T22" fmla="*/ 148 w 254"/>
                <a:gd name="T23" fmla="*/ 309 h 309"/>
                <a:gd name="T24" fmla="*/ 254 w 254"/>
                <a:gd name="T25" fmla="*/ 228 h 309"/>
                <a:gd name="T26" fmla="*/ 174 w 254"/>
                <a:gd name="T27" fmla="*/ 148 h 309"/>
                <a:gd name="T28" fmla="*/ 102 w 254"/>
                <a:gd name="T29" fmla="*/ 21 h 309"/>
                <a:gd name="T30" fmla="*/ 102 w 254"/>
                <a:gd name="T31" fmla="*/ 21 h 309"/>
                <a:gd name="T32" fmla="*/ 140 w 254"/>
                <a:gd name="T33" fmla="*/ 26 h 309"/>
                <a:gd name="T34" fmla="*/ 174 w 254"/>
                <a:gd name="T35" fmla="*/ 81 h 309"/>
                <a:gd name="T36" fmla="*/ 140 w 254"/>
                <a:gd name="T37" fmla="*/ 136 h 309"/>
                <a:gd name="T38" fmla="*/ 127 w 254"/>
                <a:gd name="T39" fmla="*/ 140 h 309"/>
                <a:gd name="T40" fmla="*/ 102 w 254"/>
                <a:gd name="T41" fmla="*/ 140 h 309"/>
                <a:gd name="T42" fmla="*/ 102 w 254"/>
                <a:gd name="T43" fmla="*/ 21 h 309"/>
                <a:gd name="T44" fmla="*/ 140 w 254"/>
                <a:gd name="T45" fmla="*/ 288 h 309"/>
                <a:gd name="T46" fmla="*/ 140 w 254"/>
                <a:gd name="T47" fmla="*/ 288 h 309"/>
                <a:gd name="T48" fmla="*/ 102 w 254"/>
                <a:gd name="T49" fmla="*/ 271 h 309"/>
                <a:gd name="T50" fmla="*/ 102 w 254"/>
                <a:gd name="T51" fmla="*/ 157 h 309"/>
                <a:gd name="T52" fmla="*/ 127 w 254"/>
                <a:gd name="T53" fmla="*/ 157 h 309"/>
                <a:gd name="T54" fmla="*/ 140 w 254"/>
                <a:gd name="T55" fmla="*/ 157 h 309"/>
                <a:gd name="T56" fmla="*/ 190 w 254"/>
                <a:gd name="T57" fmla="*/ 228 h 309"/>
                <a:gd name="T58" fmla="*/ 140 w 254"/>
                <a:gd name="T59" fmla="*/ 288 h 3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4"/>
                <a:gd name="T91" fmla="*/ 0 h 309"/>
                <a:gd name="T92" fmla="*/ 254 w 254"/>
                <a:gd name="T93" fmla="*/ 309 h 3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8" name="Freeform 13"/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>
                <a:gd name="T0" fmla="*/ 199 w 237"/>
                <a:gd name="T1" fmla="*/ 279 h 309"/>
                <a:gd name="T2" fmla="*/ 101 w 237"/>
                <a:gd name="T3" fmla="*/ 279 h 309"/>
                <a:gd name="T4" fmla="*/ 101 w 237"/>
                <a:gd name="T5" fmla="*/ 157 h 309"/>
                <a:gd name="T6" fmla="*/ 156 w 237"/>
                <a:gd name="T7" fmla="*/ 157 h 309"/>
                <a:gd name="T8" fmla="*/ 169 w 237"/>
                <a:gd name="T9" fmla="*/ 199 h 309"/>
                <a:gd name="T10" fmla="*/ 186 w 237"/>
                <a:gd name="T11" fmla="*/ 199 h 309"/>
                <a:gd name="T12" fmla="*/ 182 w 237"/>
                <a:gd name="T13" fmla="*/ 144 h 309"/>
                <a:gd name="T14" fmla="*/ 186 w 237"/>
                <a:gd name="T15" fmla="*/ 93 h 309"/>
                <a:gd name="T16" fmla="*/ 169 w 237"/>
                <a:gd name="T17" fmla="*/ 93 h 309"/>
                <a:gd name="T18" fmla="*/ 156 w 237"/>
                <a:gd name="T19" fmla="*/ 136 h 309"/>
                <a:gd name="T20" fmla="*/ 101 w 237"/>
                <a:gd name="T21" fmla="*/ 136 h 309"/>
                <a:gd name="T22" fmla="*/ 101 w 237"/>
                <a:gd name="T23" fmla="*/ 30 h 309"/>
                <a:gd name="T24" fmla="*/ 194 w 237"/>
                <a:gd name="T25" fmla="*/ 30 h 309"/>
                <a:gd name="T26" fmla="*/ 207 w 237"/>
                <a:gd name="T27" fmla="*/ 81 h 309"/>
                <a:gd name="T28" fmla="*/ 224 w 237"/>
                <a:gd name="T29" fmla="*/ 81 h 309"/>
                <a:gd name="T30" fmla="*/ 220 w 237"/>
                <a:gd name="T31" fmla="*/ 0 h 309"/>
                <a:gd name="T32" fmla="*/ 203 w 237"/>
                <a:gd name="T33" fmla="*/ 0 h 309"/>
                <a:gd name="T34" fmla="*/ 0 w 237"/>
                <a:gd name="T35" fmla="*/ 0 h 309"/>
                <a:gd name="T36" fmla="*/ 0 w 237"/>
                <a:gd name="T37" fmla="*/ 17 h 309"/>
                <a:gd name="T38" fmla="*/ 38 w 237"/>
                <a:gd name="T39" fmla="*/ 26 h 309"/>
                <a:gd name="T40" fmla="*/ 38 w 237"/>
                <a:gd name="T41" fmla="*/ 283 h 309"/>
                <a:gd name="T42" fmla="*/ 0 w 237"/>
                <a:gd name="T43" fmla="*/ 292 h 309"/>
                <a:gd name="T44" fmla="*/ 0 w 237"/>
                <a:gd name="T45" fmla="*/ 309 h 309"/>
                <a:gd name="T46" fmla="*/ 224 w 237"/>
                <a:gd name="T47" fmla="*/ 309 h 309"/>
                <a:gd name="T48" fmla="*/ 237 w 237"/>
                <a:gd name="T49" fmla="*/ 220 h 309"/>
                <a:gd name="T50" fmla="*/ 220 w 237"/>
                <a:gd name="T51" fmla="*/ 220 h 309"/>
                <a:gd name="T52" fmla="*/ 199 w 237"/>
                <a:gd name="T53" fmla="*/ 279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7"/>
                <a:gd name="T82" fmla="*/ 0 h 309"/>
                <a:gd name="T83" fmla="*/ 237 w 237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49" name="Freeform 14"/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>
                <a:gd name="T0" fmla="*/ 444 w 495"/>
                <a:gd name="T1" fmla="*/ 26 h 398"/>
                <a:gd name="T2" fmla="*/ 490 w 495"/>
                <a:gd name="T3" fmla="*/ 17 h 398"/>
                <a:gd name="T4" fmla="*/ 490 w 495"/>
                <a:gd name="T5" fmla="*/ 0 h 398"/>
                <a:gd name="T6" fmla="*/ 338 w 495"/>
                <a:gd name="T7" fmla="*/ 0 h 398"/>
                <a:gd name="T8" fmla="*/ 338 w 495"/>
                <a:gd name="T9" fmla="*/ 17 h 398"/>
                <a:gd name="T10" fmla="*/ 380 w 495"/>
                <a:gd name="T11" fmla="*/ 26 h 398"/>
                <a:gd name="T12" fmla="*/ 380 w 495"/>
                <a:gd name="T13" fmla="*/ 283 h 398"/>
                <a:gd name="T14" fmla="*/ 275 w 495"/>
                <a:gd name="T15" fmla="*/ 283 h 398"/>
                <a:gd name="T16" fmla="*/ 275 w 495"/>
                <a:gd name="T17" fmla="*/ 26 h 398"/>
                <a:gd name="T18" fmla="*/ 317 w 495"/>
                <a:gd name="T19" fmla="*/ 17 h 398"/>
                <a:gd name="T20" fmla="*/ 317 w 495"/>
                <a:gd name="T21" fmla="*/ 0 h 398"/>
                <a:gd name="T22" fmla="*/ 169 w 495"/>
                <a:gd name="T23" fmla="*/ 0 h 398"/>
                <a:gd name="T24" fmla="*/ 169 w 495"/>
                <a:gd name="T25" fmla="*/ 17 h 398"/>
                <a:gd name="T26" fmla="*/ 211 w 495"/>
                <a:gd name="T27" fmla="*/ 26 h 398"/>
                <a:gd name="T28" fmla="*/ 211 w 495"/>
                <a:gd name="T29" fmla="*/ 283 h 398"/>
                <a:gd name="T30" fmla="*/ 106 w 495"/>
                <a:gd name="T31" fmla="*/ 283 h 398"/>
                <a:gd name="T32" fmla="*/ 106 w 495"/>
                <a:gd name="T33" fmla="*/ 26 h 398"/>
                <a:gd name="T34" fmla="*/ 148 w 495"/>
                <a:gd name="T35" fmla="*/ 17 h 398"/>
                <a:gd name="T36" fmla="*/ 148 w 495"/>
                <a:gd name="T37" fmla="*/ 0 h 398"/>
                <a:gd name="T38" fmla="*/ 0 w 495"/>
                <a:gd name="T39" fmla="*/ 0 h 398"/>
                <a:gd name="T40" fmla="*/ 0 w 495"/>
                <a:gd name="T41" fmla="*/ 17 h 398"/>
                <a:gd name="T42" fmla="*/ 42 w 495"/>
                <a:gd name="T43" fmla="*/ 26 h 398"/>
                <a:gd name="T44" fmla="*/ 42 w 495"/>
                <a:gd name="T45" fmla="*/ 283 h 398"/>
                <a:gd name="T46" fmla="*/ 0 w 495"/>
                <a:gd name="T47" fmla="*/ 292 h 398"/>
                <a:gd name="T48" fmla="*/ 0 w 495"/>
                <a:gd name="T49" fmla="*/ 309 h 398"/>
                <a:gd name="T50" fmla="*/ 457 w 495"/>
                <a:gd name="T51" fmla="*/ 309 h 398"/>
                <a:gd name="T52" fmla="*/ 457 w 495"/>
                <a:gd name="T53" fmla="*/ 398 h 398"/>
                <a:gd name="T54" fmla="*/ 474 w 495"/>
                <a:gd name="T55" fmla="*/ 398 h 398"/>
                <a:gd name="T56" fmla="*/ 495 w 495"/>
                <a:gd name="T57" fmla="*/ 283 h 398"/>
                <a:gd name="T58" fmla="*/ 444 w 495"/>
                <a:gd name="T59" fmla="*/ 283 h 398"/>
                <a:gd name="T60" fmla="*/ 444 w 495"/>
                <a:gd name="T61" fmla="*/ 26 h 3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5"/>
                <a:gd name="T94" fmla="*/ 0 h 398"/>
                <a:gd name="T95" fmla="*/ 495 w 495"/>
                <a:gd name="T96" fmla="*/ 398 h 39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50" name="Freeform 15"/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>
                <a:gd name="T0" fmla="*/ 237 w 237"/>
                <a:gd name="T1" fmla="*/ 220 h 309"/>
                <a:gd name="T2" fmla="*/ 224 w 237"/>
                <a:gd name="T3" fmla="*/ 220 h 309"/>
                <a:gd name="T4" fmla="*/ 199 w 237"/>
                <a:gd name="T5" fmla="*/ 279 h 309"/>
                <a:gd name="T6" fmla="*/ 102 w 237"/>
                <a:gd name="T7" fmla="*/ 279 h 309"/>
                <a:gd name="T8" fmla="*/ 102 w 237"/>
                <a:gd name="T9" fmla="*/ 157 h 309"/>
                <a:gd name="T10" fmla="*/ 157 w 237"/>
                <a:gd name="T11" fmla="*/ 157 h 309"/>
                <a:gd name="T12" fmla="*/ 170 w 237"/>
                <a:gd name="T13" fmla="*/ 199 h 309"/>
                <a:gd name="T14" fmla="*/ 186 w 237"/>
                <a:gd name="T15" fmla="*/ 199 h 309"/>
                <a:gd name="T16" fmla="*/ 182 w 237"/>
                <a:gd name="T17" fmla="*/ 144 h 309"/>
                <a:gd name="T18" fmla="*/ 186 w 237"/>
                <a:gd name="T19" fmla="*/ 93 h 309"/>
                <a:gd name="T20" fmla="*/ 174 w 237"/>
                <a:gd name="T21" fmla="*/ 93 h 309"/>
                <a:gd name="T22" fmla="*/ 157 w 237"/>
                <a:gd name="T23" fmla="*/ 136 h 309"/>
                <a:gd name="T24" fmla="*/ 102 w 237"/>
                <a:gd name="T25" fmla="*/ 136 h 309"/>
                <a:gd name="T26" fmla="*/ 102 w 237"/>
                <a:gd name="T27" fmla="*/ 30 h 309"/>
                <a:gd name="T28" fmla="*/ 195 w 237"/>
                <a:gd name="T29" fmla="*/ 30 h 309"/>
                <a:gd name="T30" fmla="*/ 208 w 237"/>
                <a:gd name="T31" fmla="*/ 81 h 309"/>
                <a:gd name="T32" fmla="*/ 224 w 237"/>
                <a:gd name="T33" fmla="*/ 81 h 309"/>
                <a:gd name="T34" fmla="*/ 220 w 237"/>
                <a:gd name="T35" fmla="*/ 0 h 309"/>
                <a:gd name="T36" fmla="*/ 0 w 237"/>
                <a:gd name="T37" fmla="*/ 0 h 309"/>
                <a:gd name="T38" fmla="*/ 0 w 237"/>
                <a:gd name="T39" fmla="*/ 17 h 309"/>
                <a:gd name="T40" fmla="*/ 38 w 237"/>
                <a:gd name="T41" fmla="*/ 26 h 309"/>
                <a:gd name="T42" fmla="*/ 38 w 237"/>
                <a:gd name="T43" fmla="*/ 283 h 309"/>
                <a:gd name="T44" fmla="*/ 0 w 237"/>
                <a:gd name="T45" fmla="*/ 292 h 309"/>
                <a:gd name="T46" fmla="*/ 0 w 237"/>
                <a:gd name="T47" fmla="*/ 309 h 309"/>
                <a:gd name="T48" fmla="*/ 229 w 237"/>
                <a:gd name="T49" fmla="*/ 309 h 309"/>
                <a:gd name="T50" fmla="*/ 237 w 237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37"/>
                <a:gd name="T79" fmla="*/ 0 h 309"/>
                <a:gd name="T80" fmla="*/ 237 w 237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51" name="Freeform 16"/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>
                <a:gd name="T0" fmla="*/ 190 w 342"/>
                <a:gd name="T1" fmla="*/ 17 h 309"/>
                <a:gd name="T2" fmla="*/ 236 w 342"/>
                <a:gd name="T3" fmla="*/ 26 h 309"/>
                <a:gd name="T4" fmla="*/ 236 w 342"/>
                <a:gd name="T5" fmla="*/ 136 h 309"/>
                <a:gd name="T6" fmla="*/ 105 w 342"/>
                <a:gd name="T7" fmla="*/ 136 h 309"/>
                <a:gd name="T8" fmla="*/ 105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5 w 342"/>
                <a:gd name="T31" fmla="*/ 283 h 309"/>
                <a:gd name="T32" fmla="*/ 105 w 342"/>
                <a:gd name="T33" fmla="*/ 161 h 309"/>
                <a:gd name="T34" fmla="*/ 236 w 342"/>
                <a:gd name="T35" fmla="*/ 161 h 309"/>
                <a:gd name="T36" fmla="*/ 236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52" name="Freeform 17"/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>
                <a:gd name="T0" fmla="*/ 190 w 342"/>
                <a:gd name="T1" fmla="*/ 17 h 309"/>
                <a:gd name="T2" fmla="*/ 237 w 342"/>
                <a:gd name="T3" fmla="*/ 26 h 309"/>
                <a:gd name="T4" fmla="*/ 237 w 342"/>
                <a:gd name="T5" fmla="*/ 30 h 309"/>
                <a:gd name="T6" fmla="*/ 106 w 342"/>
                <a:gd name="T7" fmla="*/ 237 h 309"/>
                <a:gd name="T8" fmla="*/ 106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6 w 342"/>
                <a:gd name="T31" fmla="*/ 283 h 309"/>
                <a:gd name="T32" fmla="*/ 106 w 342"/>
                <a:gd name="T33" fmla="*/ 279 h 309"/>
                <a:gd name="T34" fmla="*/ 237 w 342"/>
                <a:gd name="T35" fmla="*/ 72 h 309"/>
                <a:gd name="T36" fmla="*/ 237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53" name="Freeform 18"/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>
                <a:gd name="T0" fmla="*/ 225 w 241"/>
                <a:gd name="T1" fmla="*/ 220 h 309"/>
                <a:gd name="T2" fmla="*/ 199 w 241"/>
                <a:gd name="T3" fmla="*/ 279 h 309"/>
                <a:gd name="T4" fmla="*/ 106 w 241"/>
                <a:gd name="T5" fmla="*/ 279 h 309"/>
                <a:gd name="T6" fmla="*/ 106 w 241"/>
                <a:gd name="T7" fmla="*/ 157 h 309"/>
                <a:gd name="T8" fmla="*/ 161 w 241"/>
                <a:gd name="T9" fmla="*/ 157 h 309"/>
                <a:gd name="T10" fmla="*/ 174 w 241"/>
                <a:gd name="T11" fmla="*/ 199 h 309"/>
                <a:gd name="T12" fmla="*/ 187 w 241"/>
                <a:gd name="T13" fmla="*/ 199 h 309"/>
                <a:gd name="T14" fmla="*/ 187 w 241"/>
                <a:gd name="T15" fmla="*/ 144 h 309"/>
                <a:gd name="T16" fmla="*/ 187 w 241"/>
                <a:gd name="T17" fmla="*/ 93 h 309"/>
                <a:gd name="T18" fmla="*/ 174 w 241"/>
                <a:gd name="T19" fmla="*/ 93 h 309"/>
                <a:gd name="T20" fmla="*/ 161 w 241"/>
                <a:gd name="T21" fmla="*/ 136 h 309"/>
                <a:gd name="T22" fmla="*/ 106 w 241"/>
                <a:gd name="T23" fmla="*/ 136 h 309"/>
                <a:gd name="T24" fmla="*/ 106 w 241"/>
                <a:gd name="T25" fmla="*/ 30 h 309"/>
                <a:gd name="T26" fmla="*/ 195 w 241"/>
                <a:gd name="T27" fmla="*/ 30 h 309"/>
                <a:gd name="T28" fmla="*/ 212 w 241"/>
                <a:gd name="T29" fmla="*/ 81 h 309"/>
                <a:gd name="T30" fmla="*/ 225 w 241"/>
                <a:gd name="T31" fmla="*/ 81 h 309"/>
                <a:gd name="T32" fmla="*/ 225 w 241"/>
                <a:gd name="T33" fmla="*/ 0 h 309"/>
                <a:gd name="T34" fmla="*/ 0 w 241"/>
                <a:gd name="T35" fmla="*/ 0 h 309"/>
                <a:gd name="T36" fmla="*/ 0 w 241"/>
                <a:gd name="T37" fmla="*/ 17 h 309"/>
                <a:gd name="T38" fmla="*/ 43 w 241"/>
                <a:gd name="T39" fmla="*/ 26 h 309"/>
                <a:gd name="T40" fmla="*/ 43 w 241"/>
                <a:gd name="T41" fmla="*/ 283 h 309"/>
                <a:gd name="T42" fmla="*/ 0 w 241"/>
                <a:gd name="T43" fmla="*/ 292 h 309"/>
                <a:gd name="T44" fmla="*/ 0 w 241"/>
                <a:gd name="T45" fmla="*/ 309 h 309"/>
                <a:gd name="T46" fmla="*/ 229 w 241"/>
                <a:gd name="T47" fmla="*/ 309 h 309"/>
                <a:gd name="T48" fmla="*/ 241 w 241"/>
                <a:gd name="T49" fmla="*/ 220 h 309"/>
                <a:gd name="T50" fmla="*/ 225 w 241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41"/>
                <a:gd name="T79" fmla="*/ 0 h 309"/>
                <a:gd name="T80" fmla="*/ 241 w 241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1135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>
                <a:gd name="T0" fmla="*/ 317 w 630"/>
                <a:gd name="T1" fmla="*/ 774 h 774"/>
                <a:gd name="T2" fmla="*/ 587 w 630"/>
                <a:gd name="T3" fmla="*/ 668 h 774"/>
                <a:gd name="T4" fmla="*/ 630 w 630"/>
                <a:gd name="T5" fmla="*/ 85 h 774"/>
                <a:gd name="T6" fmla="*/ 317 w 630"/>
                <a:gd name="T7" fmla="*/ 0 h 774"/>
                <a:gd name="T8" fmla="*/ 160 w 630"/>
                <a:gd name="T9" fmla="*/ 42 h 774"/>
                <a:gd name="T10" fmla="*/ 0 w 630"/>
                <a:gd name="T11" fmla="*/ 85 h 774"/>
                <a:gd name="T12" fmla="*/ 42 w 630"/>
                <a:gd name="T13" fmla="*/ 668 h 774"/>
                <a:gd name="T14" fmla="*/ 160 w 630"/>
                <a:gd name="T15" fmla="*/ 715 h 774"/>
                <a:gd name="T16" fmla="*/ 317 w 630"/>
                <a:gd name="T17" fmla="*/ 774 h 774"/>
                <a:gd name="T18" fmla="*/ 160 w 630"/>
                <a:gd name="T19" fmla="*/ 76 h 774"/>
                <a:gd name="T20" fmla="*/ 160 w 630"/>
                <a:gd name="T21" fmla="*/ 76 h 774"/>
                <a:gd name="T22" fmla="*/ 224 w 630"/>
                <a:gd name="T23" fmla="*/ 59 h 774"/>
                <a:gd name="T24" fmla="*/ 160 w 630"/>
                <a:gd name="T25" fmla="*/ 161 h 774"/>
                <a:gd name="T26" fmla="*/ 105 w 630"/>
                <a:gd name="T27" fmla="*/ 258 h 774"/>
                <a:gd name="T28" fmla="*/ 105 w 630"/>
                <a:gd name="T29" fmla="*/ 186 h 774"/>
                <a:gd name="T30" fmla="*/ 101 w 630"/>
                <a:gd name="T31" fmla="*/ 93 h 774"/>
                <a:gd name="T32" fmla="*/ 160 w 630"/>
                <a:gd name="T33" fmla="*/ 76 h 774"/>
                <a:gd name="T34" fmla="*/ 76 w 630"/>
                <a:gd name="T35" fmla="*/ 643 h 774"/>
                <a:gd name="T36" fmla="*/ 76 w 630"/>
                <a:gd name="T37" fmla="*/ 643 h 774"/>
                <a:gd name="T38" fmla="*/ 55 w 630"/>
                <a:gd name="T39" fmla="*/ 385 h 774"/>
                <a:gd name="T40" fmla="*/ 114 w 630"/>
                <a:gd name="T41" fmla="*/ 389 h 774"/>
                <a:gd name="T42" fmla="*/ 160 w 630"/>
                <a:gd name="T43" fmla="*/ 313 h 774"/>
                <a:gd name="T44" fmla="*/ 228 w 630"/>
                <a:gd name="T45" fmla="*/ 203 h 774"/>
                <a:gd name="T46" fmla="*/ 224 w 630"/>
                <a:gd name="T47" fmla="*/ 275 h 774"/>
                <a:gd name="T48" fmla="*/ 228 w 630"/>
                <a:gd name="T49" fmla="*/ 397 h 774"/>
                <a:gd name="T50" fmla="*/ 317 w 630"/>
                <a:gd name="T51" fmla="*/ 402 h 774"/>
                <a:gd name="T52" fmla="*/ 317 w 630"/>
                <a:gd name="T53" fmla="*/ 34 h 774"/>
                <a:gd name="T54" fmla="*/ 596 w 630"/>
                <a:gd name="T55" fmla="*/ 110 h 774"/>
                <a:gd name="T56" fmla="*/ 575 w 630"/>
                <a:gd name="T57" fmla="*/ 385 h 774"/>
                <a:gd name="T58" fmla="*/ 494 w 630"/>
                <a:gd name="T59" fmla="*/ 389 h 774"/>
                <a:gd name="T60" fmla="*/ 507 w 630"/>
                <a:gd name="T61" fmla="*/ 156 h 774"/>
                <a:gd name="T62" fmla="*/ 410 w 630"/>
                <a:gd name="T63" fmla="*/ 140 h 774"/>
                <a:gd name="T64" fmla="*/ 406 w 630"/>
                <a:gd name="T65" fmla="*/ 397 h 774"/>
                <a:gd name="T66" fmla="*/ 317 w 630"/>
                <a:gd name="T67" fmla="*/ 402 h 774"/>
                <a:gd name="T68" fmla="*/ 317 w 630"/>
                <a:gd name="T69" fmla="*/ 736 h 774"/>
                <a:gd name="T70" fmla="*/ 160 w 630"/>
                <a:gd name="T71" fmla="*/ 676 h 774"/>
                <a:gd name="T72" fmla="*/ 76 w 630"/>
                <a:gd name="T73" fmla="*/ 643 h 7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30"/>
                <a:gd name="T112" fmla="*/ 0 h 774"/>
                <a:gd name="T113" fmla="*/ 630 w 630"/>
                <a:gd name="T114" fmla="*/ 774 h 77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7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4819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646B05F-7833-4DCC-84F9-96EE83DB25CE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3" y="109039"/>
            <a:ext cx="9677392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Генетика в современной школе. Подготовка кадров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34822" name="Рисунок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71175" y="139700"/>
            <a:ext cx="13525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38125" y="1863725"/>
          <a:ext cx="11768138" cy="4579938"/>
        </p:xfrm>
        <a:graphic>
          <a:graphicData uri="http://schemas.openxmlformats.org/drawingml/2006/table">
            <a:tbl>
              <a:tblPr/>
              <a:tblGrid>
                <a:gridCol w="5070765">
                  <a:extLst>
                    <a:ext uri="{9D8B030D-6E8A-4147-A177-3AD203B41FA5}"/>
                  </a:extLst>
                </a:gridCol>
                <a:gridCol w="6697682">
                  <a:extLst>
                    <a:ext uri="{9D8B030D-6E8A-4147-A177-3AD203B41FA5}"/>
                  </a:extLst>
                </a:gridCol>
              </a:tblGrid>
              <a:tr h="486890"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800" b="1" i="0" u="none" strike="noStrike" kern="1200" dirty="0" smtClean="0">
                          <a:solidFill>
                            <a:schemeClr val="lt1"/>
                          </a:solidFill>
                          <a:latin typeface="Calibri"/>
                        </a:rPr>
                        <a:t>Лабораторные работы</a:t>
                      </a:r>
                      <a:endParaRPr lang="ru-RU" sz="1800" b="1" i="0" u="none" strike="noStrike" kern="1200" dirty="0">
                        <a:solidFill>
                          <a:schemeClr val="lt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800" b="1" i="0" u="none" strike="noStrike" kern="1200" dirty="0" smtClean="0">
                          <a:solidFill>
                            <a:schemeClr val="lt1"/>
                          </a:solidFill>
                          <a:latin typeface="+mn-lt"/>
                        </a:rPr>
                        <a:t>Используемое оборудование и материалы</a:t>
                      </a:r>
                      <a:endParaRPr lang="ru-RU" sz="1800" b="1" i="0" u="none" strike="noStrike" kern="1200" dirty="0">
                        <a:solidFill>
                          <a:schemeClr val="lt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/>
                </a:extLst>
              </a:tr>
              <a:tr h="313480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Поведение 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хромосом при </a:t>
                      </a: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митозе.</a:t>
                      </a:r>
                    </a:p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Типология мутаций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Микроскопическое оборудование, наборы микропрепаратов</a:t>
                      </a:r>
                      <a:endParaRPr lang="ru-RU" sz="1600" b="0" i="0" u="none" strike="noStrike" dirty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/>
                </a:extLst>
              </a:tr>
              <a:tr h="372333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err="1" smtClean="0">
                          <a:solidFill>
                            <a:schemeClr val="dk1"/>
                          </a:solidFill>
                          <a:latin typeface="Calibri"/>
                        </a:rPr>
                        <a:t>Кариологический</a:t>
                      </a: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 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анализ организмов различных </a:t>
                      </a: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видов. </a:t>
                      </a: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Наследственные болезни человека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Электронные атласы кариограмм человека в норме и при патологиях, кариограмм организмов различных видов</a:t>
                      </a:r>
                      <a:endParaRPr lang="ru-RU" sz="1600" b="0" i="0" u="none" strike="noStrike" dirty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/>
                </a:extLst>
              </a:tr>
              <a:tr h="372333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Электрофорез </a:t>
                      </a:r>
                      <a:r>
                        <a:rPr lang="ru-RU" sz="1600" b="0" i="0" u="none" strike="noStrike" kern="1200" dirty="0" err="1">
                          <a:solidFill>
                            <a:schemeClr val="dk1"/>
                          </a:solidFill>
                          <a:latin typeface="Calibri"/>
                        </a:rPr>
                        <a:t>плазмидной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 ДНК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Набор оборудования по электрофорезу </a:t>
                      </a:r>
                      <a:r>
                        <a:rPr lang="ru-RU" sz="1600" b="0" i="0" u="none" strike="noStrike" dirty="0" err="1" smtClean="0">
                          <a:latin typeface="+mn-lt"/>
                        </a:rPr>
                        <a:t>плазмидной</a:t>
                      </a:r>
                      <a:r>
                        <a:rPr lang="ru-RU" sz="1600" b="0" i="0" u="none" strike="noStrike" dirty="0" smtClean="0">
                          <a:latin typeface="+mn-lt"/>
                        </a:rPr>
                        <a:t> ДНК, расходные</a:t>
                      </a:r>
                      <a:r>
                        <a:rPr lang="ru-RU" sz="1600" b="0" i="0" u="none" strike="noStrike" baseline="0" dirty="0" smtClean="0">
                          <a:latin typeface="+mn-lt"/>
                        </a:rPr>
                        <a:t> материалы (образцы, реактивы, буферная смесь)</a:t>
                      </a:r>
                      <a:endParaRPr lang="ru-RU" sz="1600" b="0" i="0" u="none" strike="noStrike" dirty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/>
                </a:extLst>
              </a:tr>
              <a:tr h="372333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Получение 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ДНК из организма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Набор оборудования для выделения ДНК из клеток растений, расходные</a:t>
                      </a:r>
                      <a:r>
                        <a:rPr lang="ru-RU" sz="1600" b="0" i="0" u="none" strike="noStrike" baseline="0" dirty="0" smtClean="0">
                          <a:latin typeface="+mn-lt"/>
                        </a:rPr>
                        <a:t> материалы </a:t>
                      </a:r>
                      <a:endParaRPr lang="ru-RU" sz="1600" b="0" i="0" u="none" strike="noStrike" dirty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/>
                </a:extLst>
              </a:tr>
              <a:tr h="372333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Генетическая 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дактилоскопия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Набор оборудования по ДНК-профилированию, расходные</a:t>
                      </a:r>
                      <a:r>
                        <a:rPr lang="ru-RU" sz="1600" b="0" i="0" u="none" strike="noStrike" baseline="0" dirty="0" smtClean="0">
                          <a:latin typeface="+mn-lt"/>
                        </a:rPr>
                        <a:t> материалы </a:t>
                      </a:r>
                      <a:endParaRPr lang="ru-RU" sz="1600" b="0" i="0" u="none" strike="noStrike" dirty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/>
                </a:extLst>
              </a:tr>
              <a:tr h="372333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Определение 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группы крови и резус фактора человека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Смоделированные образцы крови, имитированные сыворотки, лабораторная</a:t>
                      </a:r>
                      <a:r>
                        <a:rPr lang="ru-RU" sz="1600" b="0" i="0" u="none" strike="noStrike" baseline="0" dirty="0" smtClean="0">
                          <a:latin typeface="+mn-lt"/>
                        </a:rPr>
                        <a:t> посуда и инструменты</a:t>
                      </a:r>
                      <a:endParaRPr lang="ru-RU" sz="1600" b="0" i="0" u="none" strike="noStrike" dirty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/>
                </a:extLst>
              </a:tr>
              <a:tr h="372333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Определение 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родственности организмов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indent="0" algn="l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Набор оборудования для определения родственности организмов, расходные</a:t>
                      </a:r>
                      <a:r>
                        <a:rPr lang="ru-RU" sz="1600" b="0" i="0" u="none" strike="noStrike" baseline="0" dirty="0" smtClean="0">
                          <a:latin typeface="+mn-lt"/>
                        </a:rPr>
                        <a:t> материалы </a:t>
                      </a:r>
                      <a:endParaRPr lang="ru-RU" sz="1600" b="0" i="0" u="none" strike="noStrike" dirty="0" smtClean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/>
                </a:extLst>
              </a:tr>
              <a:tr h="372333"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dk1"/>
                          </a:solidFill>
                          <a:latin typeface="Calibri"/>
                        </a:rPr>
                        <a:t>Влияние </a:t>
                      </a:r>
                      <a:r>
                        <a:rPr lang="ru-RU" sz="1600" b="0" i="0" u="none" strike="noStrike" kern="1200" dirty="0">
                          <a:solidFill>
                            <a:schemeClr val="dk1"/>
                          </a:solidFill>
                          <a:latin typeface="Calibri"/>
                        </a:rPr>
                        <a:t>ферментов на процесс пищеварения</a:t>
                      </a:r>
                      <a:endParaRPr lang="ru-RU" sz="1600" b="0" i="0" u="none" strike="noStrike" dirty="0">
                        <a:latin typeface="Arial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 smtClean="0">
                          <a:latin typeface="+mn-lt"/>
                        </a:rPr>
                        <a:t>Пищеварительные ферменты, органические вещества пищи, лабораторная посуда и реактивы</a:t>
                      </a:r>
                      <a:endParaRPr lang="ru-RU" sz="1600" b="0" i="0" u="none" strike="noStrike" dirty="0">
                        <a:latin typeface="+mn-lt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211392" y="984980"/>
            <a:ext cx="11844722" cy="61555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Лабораторный практикум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эффективный механизм овладения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актическими инструментами для изучения генетических технологий и организации практикума по генетике в школ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5" name="Рисунок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одзаголовок 2"/>
          <p:cNvSpPr txBox="1">
            <a:spLocks/>
          </p:cNvSpPr>
          <p:nvPr/>
        </p:nvSpPr>
        <p:spPr>
          <a:xfrm>
            <a:off x="2476500" y="4579938"/>
            <a:ext cx="8521700" cy="16319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18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18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8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</a:t>
            </a:r>
            <a:r>
              <a:rPr lang="ru-RU" sz="1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8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8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vopros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@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.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ru</a:t>
            </a:r>
            <a:endParaRPr lang="ru-RU" sz="18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6867" name="Рисунок 24">
            <a:hlinkClick r:id="rId4"/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738" y="4579938"/>
            <a:ext cx="1633537" cy="163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8" name="Рисунок 1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688638" y="188913"/>
            <a:ext cx="13525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6869" name="Группа 12"/>
          <p:cNvGrpSpPr>
            <a:grpSpLocks/>
          </p:cNvGrpSpPr>
          <p:nvPr/>
        </p:nvGrpSpPr>
        <p:grpSpPr bwMode="auto">
          <a:xfrm>
            <a:off x="8831263" y="128588"/>
            <a:ext cx="1268412" cy="438150"/>
            <a:chOff x="254665" y="195486"/>
            <a:chExt cx="951720" cy="329081"/>
          </a:xfrm>
        </p:grpSpPr>
        <p:sp>
          <p:nvSpPr>
            <p:cNvPr id="36871" name="Freeform 6"/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>
                <a:gd name="T0" fmla="*/ 1505 w 1509"/>
                <a:gd name="T1" fmla="*/ 0 h 84"/>
                <a:gd name="T2" fmla="*/ 0 w 1509"/>
                <a:gd name="T3" fmla="*/ 0 h 84"/>
                <a:gd name="T4" fmla="*/ 0 w 1509"/>
                <a:gd name="T5" fmla="*/ 84 h 84"/>
                <a:gd name="T6" fmla="*/ 1509 w 1509"/>
                <a:gd name="T7" fmla="*/ 84 h 84"/>
                <a:gd name="T8" fmla="*/ 1505 w 1509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09"/>
                <a:gd name="T16" fmla="*/ 0 h 84"/>
                <a:gd name="T17" fmla="*/ 1509 w 1509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2" name="Freeform 7"/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>
                <a:gd name="T0" fmla="*/ 1510 w 1510"/>
                <a:gd name="T1" fmla="*/ 0 h 84"/>
                <a:gd name="T2" fmla="*/ 9 w 1510"/>
                <a:gd name="T3" fmla="*/ 0 h 84"/>
                <a:gd name="T4" fmla="*/ 0 w 1510"/>
                <a:gd name="T5" fmla="*/ 84 h 84"/>
                <a:gd name="T6" fmla="*/ 1510 w 1510"/>
                <a:gd name="T7" fmla="*/ 84 h 84"/>
                <a:gd name="T8" fmla="*/ 1510 w 1510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10"/>
                <a:gd name="T16" fmla="*/ 0 h 84"/>
                <a:gd name="T17" fmla="*/ 1510 w 1510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3" name="Freeform 8"/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>
                <a:gd name="T0" fmla="*/ 0 w 342"/>
                <a:gd name="T1" fmla="*/ 17 h 309"/>
                <a:gd name="T2" fmla="*/ 42 w 342"/>
                <a:gd name="T3" fmla="*/ 26 h 309"/>
                <a:gd name="T4" fmla="*/ 42 w 342"/>
                <a:gd name="T5" fmla="*/ 283 h 309"/>
                <a:gd name="T6" fmla="*/ 0 w 342"/>
                <a:gd name="T7" fmla="*/ 292 h 309"/>
                <a:gd name="T8" fmla="*/ 0 w 342"/>
                <a:gd name="T9" fmla="*/ 309 h 309"/>
                <a:gd name="T10" fmla="*/ 148 w 342"/>
                <a:gd name="T11" fmla="*/ 309 h 309"/>
                <a:gd name="T12" fmla="*/ 148 w 342"/>
                <a:gd name="T13" fmla="*/ 292 h 309"/>
                <a:gd name="T14" fmla="*/ 106 w 342"/>
                <a:gd name="T15" fmla="*/ 283 h 309"/>
                <a:gd name="T16" fmla="*/ 106 w 342"/>
                <a:gd name="T17" fmla="*/ 30 h 309"/>
                <a:gd name="T18" fmla="*/ 232 w 342"/>
                <a:gd name="T19" fmla="*/ 30 h 309"/>
                <a:gd name="T20" fmla="*/ 232 w 342"/>
                <a:gd name="T21" fmla="*/ 283 h 309"/>
                <a:gd name="T22" fmla="*/ 190 w 342"/>
                <a:gd name="T23" fmla="*/ 292 h 309"/>
                <a:gd name="T24" fmla="*/ 190 w 342"/>
                <a:gd name="T25" fmla="*/ 309 h 309"/>
                <a:gd name="T26" fmla="*/ 342 w 342"/>
                <a:gd name="T27" fmla="*/ 309 h 309"/>
                <a:gd name="T28" fmla="*/ 342 w 342"/>
                <a:gd name="T29" fmla="*/ 292 h 309"/>
                <a:gd name="T30" fmla="*/ 300 w 342"/>
                <a:gd name="T31" fmla="*/ 283 h 309"/>
                <a:gd name="T32" fmla="*/ 300 w 342"/>
                <a:gd name="T33" fmla="*/ 26 h 309"/>
                <a:gd name="T34" fmla="*/ 342 w 342"/>
                <a:gd name="T35" fmla="*/ 17 h 309"/>
                <a:gd name="T36" fmla="*/ 342 w 342"/>
                <a:gd name="T37" fmla="*/ 0 h 309"/>
                <a:gd name="T38" fmla="*/ 0 w 342"/>
                <a:gd name="T39" fmla="*/ 0 h 309"/>
                <a:gd name="T40" fmla="*/ 0 w 342"/>
                <a:gd name="T41" fmla="*/ 17 h 3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2"/>
                <a:gd name="T64" fmla="*/ 0 h 309"/>
                <a:gd name="T65" fmla="*/ 342 w 342"/>
                <a:gd name="T66" fmla="*/ 309 h 3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>
                <a:gd name="T0" fmla="*/ 148 w 236"/>
                <a:gd name="T1" fmla="*/ 0 h 309"/>
                <a:gd name="T2" fmla="*/ 139 w 236"/>
                <a:gd name="T3" fmla="*/ 0 h 309"/>
                <a:gd name="T4" fmla="*/ 0 w 236"/>
                <a:gd name="T5" fmla="*/ 0 h 309"/>
                <a:gd name="T6" fmla="*/ 0 w 236"/>
                <a:gd name="T7" fmla="*/ 17 h 309"/>
                <a:gd name="T8" fmla="*/ 38 w 236"/>
                <a:gd name="T9" fmla="*/ 26 h 309"/>
                <a:gd name="T10" fmla="*/ 38 w 236"/>
                <a:gd name="T11" fmla="*/ 283 h 309"/>
                <a:gd name="T12" fmla="*/ 0 w 236"/>
                <a:gd name="T13" fmla="*/ 292 h 309"/>
                <a:gd name="T14" fmla="*/ 0 w 236"/>
                <a:gd name="T15" fmla="*/ 309 h 309"/>
                <a:gd name="T16" fmla="*/ 139 w 236"/>
                <a:gd name="T17" fmla="*/ 309 h 309"/>
                <a:gd name="T18" fmla="*/ 156 w 236"/>
                <a:gd name="T19" fmla="*/ 309 h 309"/>
                <a:gd name="T20" fmla="*/ 156 w 236"/>
                <a:gd name="T21" fmla="*/ 292 h 309"/>
                <a:gd name="T22" fmla="*/ 139 w 236"/>
                <a:gd name="T23" fmla="*/ 288 h 309"/>
                <a:gd name="T24" fmla="*/ 101 w 236"/>
                <a:gd name="T25" fmla="*/ 283 h 309"/>
                <a:gd name="T26" fmla="*/ 101 w 236"/>
                <a:gd name="T27" fmla="*/ 178 h 309"/>
                <a:gd name="T28" fmla="*/ 127 w 236"/>
                <a:gd name="T29" fmla="*/ 178 h 309"/>
                <a:gd name="T30" fmla="*/ 139 w 236"/>
                <a:gd name="T31" fmla="*/ 178 h 309"/>
                <a:gd name="T32" fmla="*/ 236 w 236"/>
                <a:gd name="T33" fmla="*/ 81 h 309"/>
                <a:gd name="T34" fmla="*/ 148 w 236"/>
                <a:gd name="T35" fmla="*/ 0 h 309"/>
                <a:gd name="T36" fmla="*/ 139 w 236"/>
                <a:gd name="T37" fmla="*/ 161 h 309"/>
                <a:gd name="T38" fmla="*/ 139 w 236"/>
                <a:gd name="T39" fmla="*/ 161 h 309"/>
                <a:gd name="T40" fmla="*/ 118 w 236"/>
                <a:gd name="T41" fmla="*/ 161 h 309"/>
                <a:gd name="T42" fmla="*/ 101 w 236"/>
                <a:gd name="T43" fmla="*/ 161 h 309"/>
                <a:gd name="T44" fmla="*/ 101 w 236"/>
                <a:gd name="T45" fmla="*/ 21 h 309"/>
                <a:gd name="T46" fmla="*/ 118 w 236"/>
                <a:gd name="T47" fmla="*/ 21 h 309"/>
                <a:gd name="T48" fmla="*/ 139 w 236"/>
                <a:gd name="T49" fmla="*/ 26 h 309"/>
                <a:gd name="T50" fmla="*/ 173 w 236"/>
                <a:gd name="T51" fmla="*/ 93 h 309"/>
                <a:gd name="T52" fmla="*/ 139 w 236"/>
                <a:gd name="T53" fmla="*/ 161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6"/>
                <a:gd name="T82" fmla="*/ 0 h 309"/>
                <a:gd name="T83" fmla="*/ 236 w 236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>
                <a:gd name="T0" fmla="*/ 160 w 317"/>
                <a:gd name="T1" fmla="*/ 0 h 317"/>
                <a:gd name="T2" fmla="*/ 156 w 317"/>
                <a:gd name="T3" fmla="*/ 0 h 317"/>
                <a:gd name="T4" fmla="*/ 0 w 317"/>
                <a:gd name="T5" fmla="*/ 156 h 317"/>
                <a:gd name="T6" fmla="*/ 156 w 317"/>
                <a:gd name="T7" fmla="*/ 317 h 317"/>
                <a:gd name="T8" fmla="*/ 160 w 317"/>
                <a:gd name="T9" fmla="*/ 317 h 317"/>
                <a:gd name="T10" fmla="*/ 317 w 317"/>
                <a:gd name="T11" fmla="*/ 156 h 317"/>
                <a:gd name="T12" fmla="*/ 160 w 317"/>
                <a:gd name="T13" fmla="*/ 0 h 317"/>
                <a:gd name="T14" fmla="*/ 160 w 317"/>
                <a:gd name="T15" fmla="*/ 300 h 317"/>
                <a:gd name="T16" fmla="*/ 160 w 317"/>
                <a:gd name="T17" fmla="*/ 300 h 317"/>
                <a:gd name="T18" fmla="*/ 156 w 317"/>
                <a:gd name="T19" fmla="*/ 300 h 317"/>
                <a:gd name="T20" fmla="*/ 72 w 317"/>
                <a:gd name="T21" fmla="*/ 148 h 317"/>
                <a:gd name="T22" fmla="*/ 156 w 317"/>
                <a:gd name="T23" fmla="*/ 17 h 317"/>
                <a:gd name="T24" fmla="*/ 245 w 317"/>
                <a:gd name="T25" fmla="*/ 169 h 317"/>
                <a:gd name="T26" fmla="*/ 160 w 317"/>
                <a:gd name="T27" fmla="*/ 300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7"/>
                <a:gd name="T43" fmla="*/ 0 h 317"/>
                <a:gd name="T44" fmla="*/ 317 w 317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6" name="Freeform 11"/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>
                <a:gd name="T0" fmla="*/ 190 w 292"/>
                <a:gd name="T1" fmla="*/ 296 h 317"/>
                <a:gd name="T2" fmla="*/ 72 w 292"/>
                <a:gd name="T3" fmla="*/ 156 h 317"/>
                <a:gd name="T4" fmla="*/ 173 w 292"/>
                <a:gd name="T5" fmla="*/ 21 h 317"/>
                <a:gd name="T6" fmla="*/ 266 w 292"/>
                <a:gd name="T7" fmla="*/ 101 h 317"/>
                <a:gd name="T8" fmla="*/ 283 w 292"/>
                <a:gd name="T9" fmla="*/ 101 h 317"/>
                <a:gd name="T10" fmla="*/ 283 w 292"/>
                <a:gd name="T11" fmla="*/ 17 h 317"/>
                <a:gd name="T12" fmla="*/ 262 w 292"/>
                <a:gd name="T13" fmla="*/ 17 h 317"/>
                <a:gd name="T14" fmla="*/ 165 w 292"/>
                <a:gd name="T15" fmla="*/ 0 h 317"/>
                <a:gd name="T16" fmla="*/ 0 w 292"/>
                <a:gd name="T17" fmla="*/ 152 h 317"/>
                <a:gd name="T18" fmla="*/ 165 w 292"/>
                <a:gd name="T19" fmla="*/ 317 h 317"/>
                <a:gd name="T20" fmla="*/ 292 w 292"/>
                <a:gd name="T21" fmla="*/ 287 h 317"/>
                <a:gd name="T22" fmla="*/ 292 w 292"/>
                <a:gd name="T23" fmla="*/ 241 h 317"/>
                <a:gd name="T24" fmla="*/ 283 w 292"/>
                <a:gd name="T25" fmla="*/ 241 h 317"/>
                <a:gd name="T26" fmla="*/ 190 w 292"/>
                <a:gd name="T27" fmla="*/ 296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92"/>
                <a:gd name="T43" fmla="*/ 0 h 317"/>
                <a:gd name="T44" fmla="*/ 292 w 292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>
                <a:gd name="T0" fmla="*/ 174 w 254"/>
                <a:gd name="T1" fmla="*/ 148 h 309"/>
                <a:gd name="T2" fmla="*/ 174 w 254"/>
                <a:gd name="T3" fmla="*/ 144 h 309"/>
                <a:gd name="T4" fmla="*/ 241 w 254"/>
                <a:gd name="T5" fmla="*/ 72 h 309"/>
                <a:gd name="T6" fmla="*/ 140 w 254"/>
                <a:gd name="T7" fmla="*/ 0 h 309"/>
                <a:gd name="T8" fmla="*/ 0 w 254"/>
                <a:gd name="T9" fmla="*/ 0 h 309"/>
                <a:gd name="T10" fmla="*/ 0 w 254"/>
                <a:gd name="T11" fmla="*/ 17 h 309"/>
                <a:gd name="T12" fmla="*/ 38 w 254"/>
                <a:gd name="T13" fmla="*/ 26 h 309"/>
                <a:gd name="T14" fmla="*/ 38 w 254"/>
                <a:gd name="T15" fmla="*/ 283 h 309"/>
                <a:gd name="T16" fmla="*/ 0 w 254"/>
                <a:gd name="T17" fmla="*/ 292 h 309"/>
                <a:gd name="T18" fmla="*/ 0 w 254"/>
                <a:gd name="T19" fmla="*/ 309 h 309"/>
                <a:gd name="T20" fmla="*/ 140 w 254"/>
                <a:gd name="T21" fmla="*/ 309 h 309"/>
                <a:gd name="T22" fmla="*/ 148 w 254"/>
                <a:gd name="T23" fmla="*/ 309 h 309"/>
                <a:gd name="T24" fmla="*/ 254 w 254"/>
                <a:gd name="T25" fmla="*/ 228 h 309"/>
                <a:gd name="T26" fmla="*/ 174 w 254"/>
                <a:gd name="T27" fmla="*/ 148 h 309"/>
                <a:gd name="T28" fmla="*/ 102 w 254"/>
                <a:gd name="T29" fmla="*/ 21 h 309"/>
                <a:gd name="T30" fmla="*/ 102 w 254"/>
                <a:gd name="T31" fmla="*/ 21 h 309"/>
                <a:gd name="T32" fmla="*/ 140 w 254"/>
                <a:gd name="T33" fmla="*/ 26 h 309"/>
                <a:gd name="T34" fmla="*/ 174 w 254"/>
                <a:gd name="T35" fmla="*/ 81 h 309"/>
                <a:gd name="T36" fmla="*/ 140 w 254"/>
                <a:gd name="T37" fmla="*/ 136 h 309"/>
                <a:gd name="T38" fmla="*/ 127 w 254"/>
                <a:gd name="T39" fmla="*/ 140 h 309"/>
                <a:gd name="T40" fmla="*/ 102 w 254"/>
                <a:gd name="T41" fmla="*/ 140 h 309"/>
                <a:gd name="T42" fmla="*/ 102 w 254"/>
                <a:gd name="T43" fmla="*/ 21 h 309"/>
                <a:gd name="T44" fmla="*/ 140 w 254"/>
                <a:gd name="T45" fmla="*/ 288 h 309"/>
                <a:gd name="T46" fmla="*/ 140 w 254"/>
                <a:gd name="T47" fmla="*/ 288 h 309"/>
                <a:gd name="T48" fmla="*/ 102 w 254"/>
                <a:gd name="T49" fmla="*/ 271 h 309"/>
                <a:gd name="T50" fmla="*/ 102 w 254"/>
                <a:gd name="T51" fmla="*/ 157 h 309"/>
                <a:gd name="T52" fmla="*/ 127 w 254"/>
                <a:gd name="T53" fmla="*/ 157 h 309"/>
                <a:gd name="T54" fmla="*/ 140 w 254"/>
                <a:gd name="T55" fmla="*/ 157 h 309"/>
                <a:gd name="T56" fmla="*/ 190 w 254"/>
                <a:gd name="T57" fmla="*/ 228 h 309"/>
                <a:gd name="T58" fmla="*/ 140 w 254"/>
                <a:gd name="T59" fmla="*/ 288 h 3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4"/>
                <a:gd name="T91" fmla="*/ 0 h 309"/>
                <a:gd name="T92" fmla="*/ 254 w 254"/>
                <a:gd name="T93" fmla="*/ 309 h 3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8" name="Freeform 13"/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>
                <a:gd name="T0" fmla="*/ 199 w 237"/>
                <a:gd name="T1" fmla="*/ 279 h 309"/>
                <a:gd name="T2" fmla="*/ 101 w 237"/>
                <a:gd name="T3" fmla="*/ 279 h 309"/>
                <a:gd name="T4" fmla="*/ 101 w 237"/>
                <a:gd name="T5" fmla="*/ 157 h 309"/>
                <a:gd name="T6" fmla="*/ 156 w 237"/>
                <a:gd name="T7" fmla="*/ 157 h 309"/>
                <a:gd name="T8" fmla="*/ 169 w 237"/>
                <a:gd name="T9" fmla="*/ 199 h 309"/>
                <a:gd name="T10" fmla="*/ 186 w 237"/>
                <a:gd name="T11" fmla="*/ 199 h 309"/>
                <a:gd name="T12" fmla="*/ 182 w 237"/>
                <a:gd name="T13" fmla="*/ 144 h 309"/>
                <a:gd name="T14" fmla="*/ 186 w 237"/>
                <a:gd name="T15" fmla="*/ 93 h 309"/>
                <a:gd name="T16" fmla="*/ 169 w 237"/>
                <a:gd name="T17" fmla="*/ 93 h 309"/>
                <a:gd name="T18" fmla="*/ 156 w 237"/>
                <a:gd name="T19" fmla="*/ 136 h 309"/>
                <a:gd name="T20" fmla="*/ 101 w 237"/>
                <a:gd name="T21" fmla="*/ 136 h 309"/>
                <a:gd name="T22" fmla="*/ 101 w 237"/>
                <a:gd name="T23" fmla="*/ 30 h 309"/>
                <a:gd name="T24" fmla="*/ 194 w 237"/>
                <a:gd name="T25" fmla="*/ 30 h 309"/>
                <a:gd name="T26" fmla="*/ 207 w 237"/>
                <a:gd name="T27" fmla="*/ 81 h 309"/>
                <a:gd name="T28" fmla="*/ 224 w 237"/>
                <a:gd name="T29" fmla="*/ 81 h 309"/>
                <a:gd name="T30" fmla="*/ 220 w 237"/>
                <a:gd name="T31" fmla="*/ 0 h 309"/>
                <a:gd name="T32" fmla="*/ 203 w 237"/>
                <a:gd name="T33" fmla="*/ 0 h 309"/>
                <a:gd name="T34" fmla="*/ 0 w 237"/>
                <a:gd name="T35" fmla="*/ 0 h 309"/>
                <a:gd name="T36" fmla="*/ 0 w 237"/>
                <a:gd name="T37" fmla="*/ 17 h 309"/>
                <a:gd name="T38" fmla="*/ 38 w 237"/>
                <a:gd name="T39" fmla="*/ 26 h 309"/>
                <a:gd name="T40" fmla="*/ 38 w 237"/>
                <a:gd name="T41" fmla="*/ 283 h 309"/>
                <a:gd name="T42" fmla="*/ 0 w 237"/>
                <a:gd name="T43" fmla="*/ 292 h 309"/>
                <a:gd name="T44" fmla="*/ 0 w 237"/>
                <a:gd name="T45" fmla="*/ 309 h 309"/>
                <a:gd name="T46" fmla="*/ 224 w 237"/>
                <a:gd name="T47" fmla="*/ 309 h 309"/>
                <a:gd name="T48" fmla="*/ 237 w 237"/>
                <a:gd name="T49" fmla="*/ 220 h 309"/>
                <a:gd name="T50" fmla="*/ 220 w 237"/>
                <a:gd name="T51" fmla="*/ 220 h 309"/>
                <a:gd name="T52" fmla="*/ 199 w 237"/>
                <a:gd name="T53" fmla="*/ 279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7"/>
                <a:gd name="T82" fmla="*/ 0 h 309"/>
                <a:gd name="T83" fmla="*/ 237 w 237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79" name="Freeform 14"/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>
                <a:gd name="T0" fmla="*/ 444 w 495"/>
                <a:gd name="T1" fmla="*/ 26 h 398"/>
                <a:gd name="T2" fmla="*/ 490 w 495"/>
                <a:gd name="T3" fmla="*/ 17 h 398"/>
                <a:gd name="T4" fmla="*/ 490 w 495"/>
                <a:gd name="T5" fmla="*/ 0 h 398"/>
                <a:gd name="T6" fmla="*/ 338 w 495"/>
                <a:gd name="T7" fmla="*/ 0 h 398"/>
                <a:gd name="T8" fmla="*/ 338 w 495"/>
                <a:gd name="T9" fmla="*/ 17 h 398"/>
                <a:gd name="T10" fmla="*/ 380 w 495"/>
                <a:gd name="T11" fmla="*/ 26 h 398"/>
                <a:gd name="T12" fmla="*/ 380 w 495"/>
                <a:gd name="T13" fmla="*/ 283 h 398"/>
                <a:gd name="T14" fmla="*/ 275 w 495"/>
                <a:gd name="T15" fmla="*/ 283 h 398"/>
                <a:gd name="T16" fmla="*/ 275 w 495"/>
                <a:gd name="T17" fmla="*/ 26 h 398"/>
                <a:gd name="T18" fmla="*/ 317 w 495"/>
                <a:gd name="T19" fmla="*/ 17 h 398"/>
                <a:gd name="T20" fmla="*/ 317 w 495"/>
                <a:gd name="T21" fmla="*/ 0 h 398"/>
                <a:gd name="T22" fmla="*/ 169 w 495"/>
                <a:gd name="T23" fmla="*/ 0 h 398"/>
                <a:gd name="T24" fmla="*/ 169 w 495"/>
                <a:gd name="T25" fmla="*/ 17 h 398"/>
                <a:gd name="T26" fmla="*/ 211 w 495"/>
                <a:gd name="T27" fmla="*/ 26 h 398"/>
                <a:gd name="T28" fmla="*/ 211 w 495"/>
                <a:gd name="T29" fmla="*/ 283 h 398"/>
                <a:gd name="T30" fmla="*/ 106 w 495"/>
                <a:gd name="T31" fmla="*/ 283 h 398"/>
                <a:gd name="T32" fmla="*/ 106 w 495"/>
                <a:gd name="T33" fmla="*/ 26 h 398"/>
                <a:gd name="T34" fmla="*/ 148 w 495"/>
                <a:gd name="T35" fmla="*/ 17 h 398"/>
                <a:gd name="T36" fmla="*/ 148 w 495"/>
                <a:gd name="T37" fmla="*/ 0 h 398"/>
                <a:gd name="T38" fmla="*/ 0 w 495"/>
                <a:gd name="T39" fmla="*/ 0 h 398"/>
                <a:gd name="T40" fmla="*/ 0 w 495"/>
                <a:gd name="T41" fmla="*/ 17 h 398"/>
                <a:gd name="T42" fmla="*/ 42 w 495"/>
                <a:gd name="T43" fmla="*/ 26 h 398"/>
                <a:gd name="T44" fmla="*/ 42 w 495"/>
                <a:gd name="T45" fmla="*/ 283 h 398"/>
                <a:gd name="T46" fmla="*/ 0 w 495"/>
                <a:gd name="T47" fmla="*/ 292 h 398"/>
                <a:gd name="T48" fmla="*/ 0 w 495"/>
                <a:gd name="T49" fmla="*/ 309 h 398"/>
                <a:gd name="T50" fmla="*/ 457 w 495"/>
                <a:gd name="T51" fmla="*/ 309 h 398"/>
                <a:gd name="T52" fmla="*/ 457 w 495"/>
                <a:gd name="T53" fmla="*/ 398 h 398"/>
                <a:gd name="T54" fmla="*/ 474 w 495"/>
                <a:gd name="T55" fmla="*/ 398 h 398"/>
                <a:gd name="T56" fmla="*/ 495 w 495"/>
                <a:gd name="T57" fmla="*/ 283 h 398"/>
                <a:gd name="T58" fmla="*/ 444 w 495"/>
                <a:gd name="T59" fmla="*/ 283 h 398"/>
                <a:gd name="T60" fmla="*/ 444 w 495"/>
                <a:gd name="T61" fmla="*/ 26 h 3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5"/>
                <a:gd name="T94" fmla="*/ 0 h 398"/>
                <a:gd name="T95" fmla="*/ 495 w 495"/>
                <a:gd name="T96" fmla="*/ 398 h 39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80" name="Freeform 15"/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>
                <a:gd name="T0" fmla="*/ 237 w 237"/>
                <a:gd name="T1" fmla="*/ 220 h 309"/>
                <a:gd name="T2" fmla="*/ 224 w 237"/>
                <a:gd name="T3" fmla="*/ 220 h 309"/>
                <a:gd name="T4" fmla="*/ 199 w 237"/>
                <a:gd name="T5" fmla="*/ 279 h 309"/>
                <a:gd name="T6" fmla="*/ 102 w 237"/>
                <a:gd name="T7" fmla="*/ 279 h 309"/>
                <a:gd name="T8" fmla="*/ 102 w 237"/>
                <a:gd name="T9" fmla="*/ 157 h 309"/>
                <a:gd name="T10" fmla="*/ 157 w 237"/>
                <a:gd name="T11" fmla="*/ 157 h 309"/>
                <a:gd name="T12" fmla="*/ 170 w 237"/>
                <a:gd name="T13" fmla="*/ 199 h 309"/>
                <a:gd name="T14" fmla="*/ 186 w 237"/>
                <a:gd name="T15" fmla="*/ 199 h 309"/>
                <a:gd name="T16" fmla="*/ 182 w 237"/>
                <a:gd name="T17" fmla="*/ 144 h 309"/>
                <a:gd name="T18" fmla="*/ 186 w 237"/>
                <a:gd name="T19" fmla="*/ 93 h 309"/>
                <a:gd name="T20" fmla="*/ 174 w 237"/>
                <a:gd name="T21" fmla="*/ 93 h 309"/>
                <a:gd name="T22" fmla="*/ 157 w 237"/>
                <a:gd name="T23" fmla="*/ 136 h 309"/>
                <a:gd name="T24" fmla="*/ 102 w 237"/>
                <a:gd name="T25" fmla="*/ 136 h 309"/>
                <a:gd name="T26" fmla="*/ 102 w 237"/>
                <a:gd name="T27" fmla="*/ 30 h 309"/>
                <a:gd name="T28" fmla="*/ 195 w 237"/>
                <a:gd name="T29" fmla="*/ 30 h 309"/>
                <a:gd name="T30" fmla="*/ 208 w 237"/>
                <a:gd name="T31" fmla="*/ 81 h 309"/>
                <a:gd name="T32" fmla="*/ 224 w 237"/>
                <a:gd name="T33" fmla="*/ 81 h 309"/>
                <a:gd name="T34" fmla="*/ 220 w 237"/>
                <a:gd name="T35" fmla="*/ 0 h 309"/>
                <a:gd name="T36" fmla="*/ 0 w 237"/>
                <a:gd name="T37" fmla="*/ 0 h 309"/>
                <a:gd name="T38" fmla="*/ 0 w 237"/>
                <a:gd name="T39" fmla="*/ 17 h 309"/>
                <a:gd name="T40" fmla="*/ 38 w 237"/>
                <a:gd name="T41" fmla="*/ 26 h 309"/>
                <a:gd name="T42" fmla="*/ 38 w 237"/>
                <a:gd name="T43" fmla="*/ 283 h 309"/>
                <a:gd name="T44" fmla="*/ 0 w 237"/>
                <a:gd name="T45" fmla="*/ 292 h 309"/>
                <a:gd name="T46" fmla="*/ 0 w 237"/>
                <a:gd name="T47" fmla="*/ 309 h 309"/>
                <a:gd name="T48" fmla="*/ 229 w 237"/>
                <a:gd name="T49" fmla="*/ 309 h 309"/>
                <a:gd name="T50" fmla="*/ 237 w 237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37"/>
                <a:gd name="T79" fmla="*/ 0 h 309"/>
                <a:gd name="T80" fmla="*/ 237 w 237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81" name="Freeform 16"/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>
                <a:gd name="T0" fmla="*/ 190 w 342"/>
                <a:gd name="T1" fmla="*/ 17 h 309"/>
                <a:gd name="T2" fmla="*/ 236 w 342"/>
                <a:gd name="T3" fmla="*/ 26 h 309"/>
                <a:gd name="T4" fmla="*/ 236 w 342"/>
                <a:gd name="T5" fmla="*/ 136 h 309"/>
                <a:gd name="T6" fmla="*/ 105 w 342"/>
                <a:gd name="T7" fmla="*/ 136 h 309"/>
                <a:gd name="T8" fmla="*/ 105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5 w 342"/>
                <a:gd name="T31" fmla="*/ 283 h 309"/>
                <a:gd name="T32" fmla="*/ 105 w 342"/>
                <a:gd name="T33" fmla="*/ 161 h 309"/>
                <a:gd name="T34" fmla="*/ 236 w 342"/>
                <a:gd name="T35" fmla="*/ 161 h 309"/>
                <a:gd name="T36" fmla="*/ 236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82" name="Freeform 17"/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>
                <a:gd name="T0" fmla="*/ 190 w 342"/>
                <a:gd name="T1" fmla="*/ 17 h 309"/>
                <a:gd name="T2" fmla="*/ 237 w 342"/>
                <a:gd name="T3" fmla="*/ 26 h 309"/>
                <a:gd name="T4" fmla="*/ 237 w 342"/>
                <a:gd name="T5" fmla="*/ 30 h 309"/>
                <a:gd name="T6" fmla="*/ 106 w 342"/>
                <a:gd name="T7" fmla="*/ 237 h 309"/>
                <a:gd name="T8" fmla="*/ 106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6 w 342"/>
                <a:gd name="T31" fmla="*/ 283 h 309"/>
                <a:gd name="T32" fmla="*/ 106 w 342"/>
                <a:gd name="T33" fmla="*/ 279 h 309"/>
                <a:gd name="T34" fmla="*/ 237 w 342"/>
                <a:gd name="T35" fmla="*/ 72 h 309"/>
                <a:gd name="T36" fmla="*/ 237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83" name="Freeform 18"/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>
                <a:gd name="T0" fmla="*/ 225 w 241"/>
                <a:gd name="T1" fmla="*/ 220 h 309"/>
                <a:gd name="T2" fmla="*/ 199 w 241"/>
                <a:gd name="T3" fmla="*/ 279 h 309"/>
                <a:gd name="T4" fmla="*/ 106 w 241"/>
                <a:gd name="T5" fmla="*/ 279 h 309"/>
                <a:gd name="T6" fmla="*/ 106 w 241"/>
                <a:gd name="T7" fmla="*/ 157 h 309"/>
                <a:gd name="T8" fmla="*/ 161 w 241"/>
                <a:gd name="T9" fmla="*/ 157 h 309"/>
                <a:gd name="T10" fmla="*/ 174 w 241"/>
                <a:gd name="T11" fmla="*/ 199 h 309"/>
                <a:gd name="T12" fmla="*/ 187 w 241"/>
                <a:gd name="T13" fmla="*/ 199 h 309"/>
                <a:gd name="T14" fmla="*/ 187 w 241"/>
                <a:gd name="T15" fmla="*/ 144 h 309"/>
                <a:gd name="T16" fmla="*/ 187 w 241"/>
                <a:gd name="T17" fmla="*/ 93 h 309"/>
                <a:gd name="T18" fmla="*/ 174 w 241"/>
                <a:gd name="T19" fmla="*/ 93 h 309"/>
                <a:gd name="T20" fmla="*/ 161 w 241"/>
                <a:gd name="T21" fmla="*/ 136 h 309"/>
                <a:gd name="T22" fmla="*/ 106 w 241"/>
                <a:gd name="T23" fmla="*/ 136 h 309"/>
                <a:gd name="T24" fmla="*/ 106 w 241"/>
                <a:gd name="T25" fmla="*/ 30 h 309"/>
                <a:gd name="T26" fmla="*/ 195 w 241"/>
                <a:gd name="T27" fmla="*/ 30 h 309"/>
                <a:gd name="T28" fmla="*/ 212 w 241"/>
                <a:gd name="T29" fmla="*/ 81 h 309"/>
                <a:gd name="T30" fmla="*/ 225 w 241"/>
                <a:gd name="T31" fmla="*/ 81 h 309"/>
                <a:gd name="T32" fmla="*/ 225 w 241"/>
                <a:gd name="T33" fmla="*/ 0 h 309"/>
                <a:gd name="T34" fmla="*/ 0 w 241"/>
                <a:gd name="T35" fmla="*/ 0 h 309"/>
                <a:gd name="T36" fmla="*/ 0 w 241"/>
                <a:gd name="T37" fmla="*/ 17 h 309"/>
                <a:gd name="T38" fmla="*/ 43 w 241"/>
                <a:gd name="T39" fmla="*/ 26 h 309"/>
                <a:gd name="T40" fmla="*/ 43 w 241"/>
                <a:gd name="T41" fmla="*/ 283 h 309"/>
                <a:gd name="T42" fmla="*/ 0 w 241"/>
                <a:gd name="T43" fmla="*/ 292 h 309"/>
                <a:gd name="T44" fmla="*/ 0 w 241"/>
                <a:gd name="T45" fmla="*/ 309 h 309"/>
                <a:gd name="T46" fmla="*/ 229 w 241"/>
                <a:gd name="T47" fmla="*/ 309 h 309"/>
                <a:gd name="T48" fmla="*/ 241 w 241"/>
                <a:gd name="T49" fmla="*/ 220 h 309"/>
                <a:gd name="T50" fmla="*/ 225 w 241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41"/>
                <a:gd name="T79" fmla="*/ 0 h 309"/>
                <a:gd name="T80" fmla="*/ 241 w 241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3688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>
                <a:gd name="T0" fmla="*/ 317 w 630"/>
                <a:gd name="T1" fmla="*/ 774 h 774"/>
                <a:gd name="T2" fmla="*/ 587 w 630"/>
                <a:gd name="T3" fmla="*/ 668 h 774"/>
                <a:gd name="T4" fmla="*/ 630 w 630"/>
                <a:gd name="T5" fmla="*/ 85 h 774"/>
                <a:gd name="T6" fmla="*/ 317 w 630"/>
                <a:gd name="T7" fmla="*/ 0 h 774"/>
                <a:gd name="T8" fmla="*/ 160 w 630"/>
                <a:gd name="T9" fmla="*/ 42 h 774"/>
                <a:gd name="T10" fmla="*/ 0 w 630"/>
                <a:gd name="T11" fmla="*/ 85 h 774"/>
                <a:gd name="T12" fmla="*/ 42 w 630"/>
                <a:gd name="T13" fmla="*/ 668 h 774"/>
                <a:gd name="T14" fmla="*/ 160 w 630"/>
                <a:gd name="T15" fmla="*/ 715 h 774"/>
                <a:gd name="T16" fmla="*/ 317 w 630"/>
                <a:gd name="T17" fmla="*/ 774 h 774"/>
                <a:gd name="T18" fmla="*/ 160 w 630"/>
                <a:gd name="T19" fmla="*/ 76 h 774"/>
                <a:gd name="T20" fmla="*/ 160 w 630"/>
                <a:gd name="T21" fmla="*/ 76 h 774"/>
                <a:gd name="T22" fmla="*/ 224 w 630"/>
                <a:gd name="T23" fmla="*/ 59 h 774"/>
                <a:gd name="T24" fmla="*/ 160 w 630"/>
                <a:gd name="T25" fmla="*/ 161 h 774"/>
                <a:gd name="T26" fmla="*/ 105 w 630"/>
                <a:gd name="T27" fmla="*/ 258 h 774"/>
                <a:gd name="T28" fmla="*/ 105 w 630"/>
                <a:gd name="T29" fmla="*/ 186 h 774"/>
                <a:gd name="T30" fmla="*/ 101 w 630"/>
                <a:gd name="T31" fmla="*/ 93 h 774"/>
                <a:gd name="T32" fmla="*/ 160 w 630"/>
                <a:gd name="T33" fmla="*/ 76 h 774"/>
                <a:gd name="T34" fmla="*/ 76 w 630"/>
                <a:gd name="T35" fmla="*/ 643 h 774"/>
                <a:gd name="T36" fmla="*/ 76 w 630"/>
                <a:gd name="T37" fmla="*/ 643 h 774"/>
                <a:gd name="T38" fmla="*/ 55 w 630"/>
                <a:gd name="T39" fmla="*/ 385 h 774"/>
                <a:gd name="T40" fmla="*/ 114 w 630"/>
                <a:gd name="T41" fmla="*/ 389 h 774"/>
                <a:gd name="T42" fmla="*/ 160 w 630"/>
                <a:gd name="T43" fmla="*/ 313 h 774"/>
                <a:gd name="T44" fmla="*/ 228 w 630"/>
                <a:gd name="T45" fmla="*/ 203 h 774"/>
                <a:gd name="T46" fmla="*/ 224 w 630"/>
                <a:gd name="T47" fmla="*/ 275 h 774"/>
                <a:gd name="T48" fmla="*/ 228 w 630"/>
                <a:gd name="T49" fmla="*/ 397 h 774"/>
                <a:gd name="T50" fmla="*/ 317 w 630"/>
                <a:gd name="T51" fmla="*/ 402 h 774"/>
                <a:gd name="T52" fmla="*/ 317 w 630"/>
                <a:gd name="T53" fmla="*/ 34 h 774"/>
                <a:gd name="T54" fmla="*/ 596 w 630"/>
                <a:gd name="T55" fmla="*/ 110 h 774"/>
                <a:gd name="T56" fmla="*/ 575 w 630"/>
                <a:gd name="T57" fmla="*/ 385 h 774"/>
                <a:gd name="T58" fmla="*/ 494 w 630"/>
                <a:gd name="T59" fmla="*/ 389 h 774"/>
                <a:gd name="T60" fmla="*/ 507 w 630"/>
                <a:gd name="T61" fmla="*/ 156 h 774"/>
                <a:gd name="T62" fmla="*/ 410 w 630"/>
                <a:gd name="T63" fmla="*/ 140 h 774"/>
                <a:gd name="T64" fmla="*/ 406 w 630"/>
                <a:gd name="T65" fmla="*/ 397 h 774"/>
                <a:gd name="T66" fmla="*/ 317 w 630"/>
                <a:gd name="T67" fmla="*/ 402 h 774"/>
                <a:gd name="T68" fmla="*/ 317 w 630"/>
                <a:gd name="T69" fmla="*/ 736 h 774"/>
                <a:gd name="T70" fmla="*/ 160 w 630"/>
                <a:gd name="T71" fmla="*/ 676 h 774"/>
                <a:gd name="T72" fmla="*/ 76 w 630"/>
                <a:gd name="T73" fmla="*/ 643 h 7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30"/>
                <a:gd name="T112" fmla="*/ 0 h 774"/>
                <a:gd name="T113" fmla="*/ 630 w 630"/>
                <a:gd name="T114" fmla="*/ 774 h 77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</p:grpSp>
      <p:sp>
        <p:nvSpPr>
          <p:cNvPr id="36870" name="TextBox 1"/>
          <p:cNvSpPr txBox="1">
            <a:spLocks noChangeArrowheads="1"/>
          </p:cNvSpPr>
          <p:nvPr/>
        </p:nvSpPr>
        <p:spPr bwMode="auto">
          <a:xfrm>
            <a:off x="2368550" y="1814513"/>
            <a:ext cx="5764213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>
                <a:latin typeface="Calibri" pitchFamily="34" charset="0"/>
              </a:rPr>
              <a:t>Логинов Петр Николаевич</a:t>
            </a:r>
          </a:p>
          <a:p>
            <a:r>
              <a:rPr lang="ru-RU" sz="2800">
                <a:latin typeface="Calibri" pitchFamily="34" charset="0"/>
              </a:rPr>
              <a:t>Региональный директор</a:t>
            </a:r>
          </a:p>
          <a:p>
            <a:r>
              <a:rPr lang="ru-RU" sz="2800">
                <a:latin typeface="Calibri" pitchFamily="34" charset="0"/>
              </a:rPr>
              <a:t>Моб тел.: +7 905 010 00 20</a:t>
            </a:r>
          </a:p>
          <a:p>
            <a:r>
              <a:rPr lang="en-US" sz="2800">
                <a:latin typeface="Calibri" pitchFamily="34" charset="0"/>
              </a:rPr>
              <a:t>PLoginov</a:t>
            </a:r>
            <a:r>
              <a:rPr lang="ru-RU" sz="2800">
                <a:latin typeface="Calibri" pitchFamily="34" charset="0"/>
              </a:rPr>
              <a:t>@prosv.r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3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435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2089B41-D8D4-492A-946D-5926F3B2918E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37" name="Прямоугольник 4"/>
          <p:cNvSpPr>
            <a:spLocks noChangeArrowheads="1"/>
          </p:cNvSpPr>
          <p:nvPr/>
        </p:nvSpPr>
        <p:spPr bwMode="auto">
          <a:xfrm>
            <a:off x="211138" y="2149475"/>
            <a:ext cx="825817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С учётом стремительного развития генетических технологий необходимо выстроить современную систему подготовки кадров.</a:t>
            </a:r>
          </a:p>
        </p:txBody>
      </p:sp>
      <p:sp>
        <p:nvSpPr>
          <p:cNvPr id="18438" name="Прямоугольник 6"/>
          <p:cNvSpPr>
            <a:spLocks noChangeArrowheads="1"/>
          </p:cNvSpPr>
          <p:nvPr/>
        </p:nvSpPr>
        <p:spPr bwMode="auto">
          <a:xfrm>
            <a:off x="211138" y="5868988"/>
            <a:ext cx="82581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Необходимо обеспечить возможность работать на самом современном оборудовании для решения самых сложных исследовательских задач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11392" y="984980"/>
            <a:ext cx="8257598" cy="8771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ручение Президента Российской Федерации В. В. Путина Правительству Российской Федерации от 06 июня 2020 года</a:t>
            </a:r>
            <a:b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азвитию отечественной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генетики</a:t>
            </a: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84849" y="117779"/>
            <a:ext cx="9677392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Программа 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развития генетических 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технологий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 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в России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18441" name="Рисунок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362950" y="1089025"/>
            <a:ext cx="3660775" cy="497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2" name="Прямоугольник 24"/>
          <p:cNvSpPr>
            <a:spLocks noChangeArrowheads="1"/>
          </p:cNvSpPr>
          <p:nvPr/>
        </p:nvSpPr>
        <p:spPr bwMode="auto">
          <a:xfrm>
            <a:off x="742950" y="2995613"/>
            <a:ext cx="7726363" cy="286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C00000"/>
                </a:solidFill>
              </a:rPr>
              <a:t>Запустить</a:t>
            </a:r>
            <a:r>
              <a:rPr lang="ru-RU"/>
              <a:t> отдельные учебные курсы и дисциплины (модули) по генетике для общеобразовательных организаций и организаций дополнительного образования детей</a:t>
            </a:r>
          </a:p>
          <a:p>
            <a:endParaRPr lang="ru-RU"/>
          </a:p>
          <a:p>
            <a:r>
              <a:rPr lang="ru-RU" b="1">
                <a:solidFill>
                  <a:srgbClr val="C00000"/>
                </a:solidFill>
              </a:rPr>
              <a:t>Организовать </a:t>
            </a:r>
            <a:r>
              <a:rPr lang="ru-RU"/>
              <a:t>повышения квалификации педагогических работников общеобразовательных организаций и организаций дополнительного образования детей в области преподавания генетики</a:t>
            </a:r>
          </a:p>
          <a:p>
            <a:endParaRPr lang="ru-RU"/>
          </a:p>
          <a:p>
            <a:r>
              <a:rPr lang="ru-RU" b="1">
                <a:solidFill>
                  <a:srgbClr val="C00000"/>
                </a:solidFill>
              </a:rPr>
              <a:t>Вдохновить</a:t>
            </a:r>
            <a:r>
              <a:rPr lang="ru-RU"/>
              <a:t> подрастающее поколение стать первопроходцами в сфере генетики </a:t>
            </a:r>
          </a:p>
        </p:txBody>
      </p:sp>
      <p:pic>
        <p:nvPicPr>
          <p:cNvPr id="18443" name="Рисунок 8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671175" y="139700"/>
            <a:ext cx="13525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4" name="Рисунок 34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1138" y="3089275"/>
            <a:ext cx="444500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5" name="Рисунок 35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1138" y="4205288"/>
            <a:ext cx="444500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6" name="Рисунок 3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1138" y="5292725"/>
            <a:ext cx="444500" cy="44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1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048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94632D4-4041-4812-B75C-CFC5C8F655A2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66253" y="103574"/>
            <a:ext cx="9437807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Генетика в современной школе. Новое качество образования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20486" name="Рисунок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766425" y="182563"/>
            <a:ext cx="13525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Прямоугольник 16"/>
          <p:cNvSpPr/>
          <p:nvPr/>
        </p:nvSpPr>
        <p:spPr>
          <a:xfrm>
            <a:off x="211138" y="2279650"/>
            <a:ext cx="6130925" cy="42465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Генетическ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ехнологии, в то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исле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еквенировани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редактирование генома, становятся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седневной практикой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едицине, сельско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хозяйстве,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хране природы, микробиологическ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мышленности.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ти, которые сейчас обучаются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редней школе, достигнут совершеннолетия уже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новой генетической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пох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– с новыми услугами и профессиями и рабочими местами. Ва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дготовить и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 новому миру 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необходимыми знаниями.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этого необход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ротчайшие срок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массов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дготовку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оквалифицированных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области генетики. </a:t>
            </a:r>
          </a:p>
        </p:txBody>
      </p:sp>
      <p:pic>
        <p:nvPicPr>
          <p:cNvPr id="20488" name="Рисунок 1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64275" y="2070100"/>
            <a:ext cx="5810250" cy="387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211392" y="984980"/>
            <a:ext cx="11844722" cy="121571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овременная </a:t>
            </a:r>
            <a: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олекулярная генетика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это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омплексная междисциплинарная область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b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оторая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едполагает знания химии нуклеиновых кислот и белков, </a:t>
            </a:r>
            <a:r>
              <a:rPr lang="ru-RU" sz="20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иоинформатики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, статистики и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атематики</a:t>
            </a: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9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2531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980A815-270D-4434-BF07-DD86A7978D43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grpSp>
        <p:nvGrpSpPr>
          <p:cNvPr id="22532" name="Группа 33"/>
          <p:cNvGrpSpPr>
            <a:grpSpLocks/>
          </p:cNvGrpSpPr>
          <p:nvPr/>
        </p:nvGrpSpPr>
        <p:grpSpPr bwMode="auto">
          <a:xfrm>
            <a:off x="10772775" y="109538"/>
            <a:ext cx="1270000" cy="439737"/>
            <a:chOff x="254665" y="195486"/>
            <a:chExt cx="951720" cy="329081"/>
          </a:xfrm>
        </p:grpSpPr>
        <p:sp>
          <p:nvSpPr>
            <p:cNvPr id="22543" name="Freeform 6"/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>
                <a:gd name="T0" fmla="*/ 1505 w 1509"/>
                <a:gd name="T1" fmla="*/ 0 h 84"/>
                <a:gd name="T2" fmla="*/ 0 w 1509"/>
                <a:gd name="T3" fmla="*/ 0 h 84"/>
                <a:gd name="T4" fmla="*/ 0 w 1509"/>
                <a:gd name="T5" fmla="*/ 84 h 84"/>
                <a:gd name="T6" fmla="*/ 1509 w 1509"/>
                <a:gd name="T7" fmla="*/ 84 h 84"/>
                <a:gd name="T8" fmla="*/ 1505 w 1509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09"/>
                <a:gd name="T16" fmla="*/ 0 h 84"/>
                <a:gd name="T17" fmla="*/ 1509 w 1509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44" name="Freeform 7"/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>
                <a:gd name="T0" fmla="*/ 1510 w 1510"/>
                <a:gd name="T1" fmla="*/ 0 h 84"/>
                <a:gd name="T2" fmla="*/ 9 w 1510"/>
                <a:gd name="T3" fmla="*/ 0 h 84"/>
                <a:gd name="T4" fmla="*/ 0 w 1510"/>
                <a:gd name="T5" fmla="*/ 84 h 84"/>
                <a:gd name="T6" fmla="*/ 1510 w 1510"/>
                <a:gd name="T7" fmla="*/ 84 h 84"/>
                <a:gd name="T8" fmla="*/ 1510 w 1510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10"/>
                <a:gd name="T16" fmla="*/ 0 h 84"/>
                <a:gd name="T17" fmla="*/ 1510 w 1510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45" name="Freeform 8"/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>
                <a:gd name="T0" fmla="*/ 0 w 342"/>
                <a:gd name="T1" fmla="*/ 17 h 309"/>
                <a:gd name="T2" fmla="*/ 42 w 342"/>
                <a:gd name="T3" fmla="*/ 26 h 309"/>
                <a:gd name="T4" fmla="*/ 42 w 342"/>
                <a:gd name="T5" fmla="*/ 283 h 309"/>
                <a:gd name="T6" fmla="*/ 0 w 342"/>
                <a:gd name="T7" fmla="*/ 292 h 309"/>
                <a:gd name="T8" fmla="*/ 0 w 342"/>
                <a:gd name="T9" fmla="*/ 309 h 309"/>
                <a:gd name="T10" fmla="*/ 148 w 342"/>
                <a:gd name="T11" fmla="*/ 309 h 309"/>
                <a:gd name="T12" fmla="*/ 148 w 342"/>
                <a:gd name="T13" fmla="*/ 292 h 309"/>
                <a:gd name="T14" fmla="*/ 106 w 342"/>
                <a:gd name="T15" fmla="*/ 283 h 309"/>
                <a:gd name="T16" fmla="*/ 106 w 342"/>
                <a:gd name="T17" fmla="*/ 30 h 309"/>
                <a:gd name="T18" fmla="*/ 232 w 342"/>
                <a:gd name="T19" fmla="*/ 30 h 309"/>
                <a:gd name="T20" fmla="*/ 232 w 342"/>
                <a:gd name="T21" fmla="*/ 283 h 309"/>
                <a:gd name="T22" fmla="*/ 190 w 342"/>
                <a:gd name="T23" fmla="*/ 292 h 309"/>
                <a:gd name="T24" fmla="*/ 190 w 342"/>
                <a:gd name="T25" fmla="*/ 309 h 309"/>
                <a:gd name="T26" fmla="*/ 342 w 342"/>
                <a:gd name="T27" fmla="*/ 309 h 309"/>
                <a:gd name="T28" fmla="*/ 342 w 342"/>
                <a:gd name="T29" fmla="*/ 292 h 309"/>
                <a:gd name="T30" fmla="*/ 300 w 342"/>
                <a:gd name="T31" fmla="*/ 283 h 309"/>
                <a:gd name="T32" fmla="*/ 300 w 342"/>
                <a:gd name="T33" fmla="*/ 26 h 309"/>
                <a:gd name="T34" fmla="*/ 342 w 342"/>
                <a:gd name="T35" fmla="*/ 17 h 309"/>
                <a:gd name="T36" fmla="*/ 342 w 342"/>
                <a:gd name="T37" fmla="*/ 0 h 309"/>
                <a:gd name="T38" fmla="*/ 0 w 342"/>
                <a:gd name="T39" fmla="*/ 0 h 309"/>
                <a:gd name="T40" fmla="*/ 0 w 342"/>
                <a:gd name="T41" fmla="*/ 17 h 3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2"/>
                <a:gd name="T64" fmla="*/ 0 h 309"/>
                <a:gd name="T65" fmla="*/ 342 w 342"/>
                <a:gd name="T66" fmla="*/ 309 h 3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46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>
                <a:gd name="T0" fmla="*/ 148 w 236"/>
                <a:gd name="T1" fmla="*/ 0 h 309"/>
                <a:gd name="T2" fmla="*/ 139 w 236"/>
                <a:gd name="T3" fmla="*/ 0 h 309"/>
                <a:gd name="T4" fmla="*/ 0 w 236"/>
                <a:gd name="T5" fmla="*/ 0 h 309"/>
                <a:gd name="T6" fmla="*/ 0 w 236"/>
                <a:gd name="T7" fmla="*/ 17 h 309"/>
                <a:gd name="T8" fmla="*/ 38 w 236"/>
                <a:gd name="T9" fmla="*/ 26 h 309"/>
                <a:gd name="T10" fmla="*/ 38 w 236"/>
                <a:gd name="T11" fmla="*/ 283 h 309"/>
                <a:gd name="T12" fmla="*/ 0 w 236"/>
                <a:gd name="T13" fmla="*/ 292 h 309"/>
                <a:gd name="T14" fmla="*/ 0 w 236"/>
                <a:gd name="T15" fmla="*/ 309 h 309"/>
                <a:gd name="T16" fmla="*/ 139 w 236"/>
                <a:gd name="T17" fmla="*/ 309 h 309"/>
                <a:gd name="T18" fmla="*/ 156 w 236"/>
                <a:gd name="T19" fmla="*/ 309 h 309"/>
                <a:gd name="T20" fmla="*/ 156 w 236"/>
                <a:gd name="T21" fmla="*/ 292 h 309"/>
                <a:gd name="T22" fmla="*/ 139 w 236"/>
                <a:gd name="T23" fmla="*/ 288 h 309"/>
                <a:gd name="T24" fmla="*/ 101 w 236"/>
                <a:gd name="T25" fmla="*/ 283 h 309"/>
                <a:gd name="T26" fmla="*/ 101 w 236"/>
                <a:gd name="T27" fmla="*/ 178 h 309"/>
                <a:gd name="T28" fmla="*/ 127 w 236"/>
                <a:gd name="T29" fmla="*/ 178 h 309"/>
                <a:gd name="T30" fmla="*/ 139 w 236"/>
                <a:gd name="T31" fmla="*/ 178 h 309"/>
                <a:gd name="T32" fmla="*/ 236 w 236"/>
                <a:gd name="T33" fmla="*/ 81 h 309"/>
                <a:gd name="T34" fmla="*/ 148 w 236"/>
                <a:gd name="T35" fmla="*/ 0 h 309"/>
                <a:gd name="T36" fmla="*/ 139 w 236"/>
                <a:gd name="T37" fmla="*/ 161 h 309"/>
                <a:gd name="T38" fmla="*/ 139 w 236"/>
                <a:gd name="T39" fmla="*/ 161 h 309"/>
                <a:gd name="T40" fmla="*/ 118 w 236"/>
                <a:gd name="T41" fmla="*/ 161 h 309"/>
                <a:gd name="T42" fmla="*/ 101 w 236"/>
                <a:gd name="T43" fmla="*/ 161 h 309"/>
                <a:gd name="T44" fmla="*/ 101 w 236"/>
                <a:gd name="T45" fmla="*/ 21 h 309"/>
                <a:gd name="T46" fmla="*/ 118 w 236"/>
                <a:gd name="T47" fmla="*/ 21 h 309"/>
                <a:gd name="T48" fmla="*/ 139 w 236"/>
                <a:gd name="T49" fmla="*/ 26 h 309"/>
                <a:gd name="T50" fmla="*/ 173 w 236"/>
                <a:gd name="T51" fmla="*/ 93 h 309"/>
                <a:gd name="T52" fmla="*/ 139 w 236"/>
                <a:gd name="T53" fmla="*/ 161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6"/>
                <a:gd name="T82" fmla="*/ 0 h 309"/>
                <a:gd name="T83" fmla="*/ 236 w 236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47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>
                <a:gd name="T0" fmla="*/ 160 w 317"/>
                <a:gd name="T1" fmla="*/ 0 h 317"/>
                <a:gd name="T2" fmla="*/ 156 w 317"/>
                <a:gd name="T3" fmla="*/ 0 h 317"/>
                <a:gd name="T4" fmla="*/ 0 w 317"/>
                <a:gd name="T5" fmla="*/ 156 h 317"/>
                <a:gd name="T6" fmla="*/ 156 w 317"/>
                <a:gd name="T7" fmla="*/ 317 h 317"/>
                <a:gd name="T8" fmla="*/ 160 w 317"/>
                <a:gd name="T9" fmla="*/ 317 h 317"/>
                <a:gd name="T10" fmla="*/ 317 w 317"/>
                <a:gd name="T11" fmla="*/ 156 h 317"/>
                <a:gd name="T12" fmla="*/ 160 w 317"/>
                <a:gd name="T13" fmla="*/ 0 h 317"/>
                <a:gd name="T14" fmla="*/ 160 w 317"/>
                <a:gd name="T15" fmla="*/ 300 h 317"/>
                <a:gd name="T16" fmla="*/ 160 w 317"/>
                <a:gd name="T17" fmla="*/ 300 h 317"/>
                <a:gd name="T18" fmla="*/ 156 w 317"/>
                <a:gd name="T19" fmla="*/ 300 h 317"/>
                <a:gd name="T20" fmla="*/ 72 w 317"/>
                <a:gd name="T21" fmla="*/ 148 h 317"/>
                <a:gd name="T22" fmla="*/ 156 w 317"/>
                <a:gd name="T23" fmla="*/ 17 h 317"/>
                <a:gd name="T24" fmla="*/ 245 w 317"/>
                <a:gd name="T25" fmla="*/ 169 h 317"/>
                <a:gd name="T26" fmla="*/ 160 w 317"/>
                <a:gd name="T27" fmla="*/ 300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7"/>
                <a:gd name="T43" fmla="*/ 0 h 317"/>
                <a:gd name="T44" fmla="*/ 317 w 317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48" name="Freeform 11"/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>
                <a:gd name="T0" fmla="*/ 190 w 292"/>
                <a:gd name="T1" fmla="*/ 296 h 317"/>
                <a:gd name="T2" fmla="*/ 72 w 292"/>
                <a:gd name="T3" fmla="*/ 156 h 317"/>
                <a:gd name="T4" fmla="*/ 173 w 292"/>
                <a:gd name="T5" fmla="*/ 21 h 317"/>
                <a:gd name="T6" fmla="*/ 266 w 292"/>
                <a:gd name="T7" fmla="*/ 101 h 317"/>
                <a:gd name="T8" fmla="*/ 283 w 292"/>
                <a:gd name="T9" fmla="*/ 101 h 317"/>
                <a:gd name="T10" fmla="*/ 283 w 292"/>
                <a:gd name="T11" fmla="*/ 17 h 317"/>
                <a:gd name="T12" fmla="*/ 262 w 292"/>
                <a:gd name="T13" fmla="*/ 17 h 317"/>
                <a:gd name="T14" fmla="*/ 165 w 292"/>
                <a:gd name="T15" fmla="*/ 0 h 317"/>
                <a:gd name="T16" fmla="*/ 0 w 292"/>
                <a:gd name="T17" fmla="*/ 152 h 317"/>
                <a:gd name="T18" fmla="*/ 165 w 292"/>
                <a:gd name="T19" fmla="*/ 317 h 317"/>
                <a:gd name="T20" fmla="*/ 292 w 292"/>
                <a:gd name="T21" fmla="*/ 287 h 317"/>
                <a:gd name="T22" fmla="*/ 292 w 292"/>
                <a:gd name="T23" fmla="*/ 241 h 317"/>
                <a:gd name="T24" fmla="*/ 283 w 292"/>
                <a:gd name="T25" fmla="*/ 241 h 317"/>
                <a:gd name="T26" fmla="*/ 190 w 292"/>
                <a:gd name="T27" fmla="*/ 296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92"/>
                <a:gd name="T43" fmla="*/ 0 h 317"/>
                <a:gd name="T44" fmla="*/ 292 w 292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49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>
                <a:gd name="T0" fmla="*/ 174 w 254"/>
                <a:gd name="T1" fmla="*/ 148 h 309"/>
                <a:gd name="T2" fmla="*/ 174 w 254"/>
                <a:gd name="T3" fmla="*/ 144 h 309"/>
                <a:gd name="T4" fmla="*/ 241 w 254"/>
                <a:gd name="T5" fmla="*/ 72 h 309"/>
                <a:gd name="T6" fmla="*/ 140 w 254"/>
                <a:gd name="T7" fmla="*/ 0 h 309"/>
                <a:gd name="T8" fmla="*/ 0 w 254"/>
                <a:gd name="T9" fmla="*/ 0 h 309"/>
                <a:gd name="T10" fmla="*/ 0 w 254"/>
                <a:gd name="T11" fmla="*/ 17 h 309"/>
                <a:gd name="T12" fmla="*/ 38 w 254"/>
                <a:gd name="T13" fmla="*/ 26 h 309"/>
                <a:gd name="T14" fmla="*/ 38 w 254"/>
                <a:gd name="T15" fmla="*/ 283 h 309"/>
                <a:gd name="T16" fmla="*/ 0 w 254"/>
                <a:gd name="T17" fmla="*/ 292 h 309"/>
                <a:gd name="T18" fmla="*/ 0 w 254"/>
                <a:gd name="T19" fmla="*/ 309 h 309"/>
                <a:gd name="T20" fmla="*/ 140 w 254"/>
                <a:gd name="T21" fmla="*/ 309 h 309"/>
                <a:gd name="T22" fmla="*/ 148 w 254"/>
                <a:gd name="T23" fmla="*/ 309 h 309"/>
                <a:gd name="T24" fmla="*/ 254 w 254"/>
                <a:gd name="T25" fmla="*/ 228 h 309"/>
                <a:gd name="T26" fmla="*/ 174 w 254"/>
                <a:gd name="T27" fmla="*/ 148 h 309"/>
                <a:gd name="T28" fmla="*/ 102 w 254"/>
                <a:gd name="T29" fmla="*/ 21 h 309"/>
                <a:gd name="T30" fmla="*/ 102 w 254"/>
                <a:gd name="T31" fmla="*/ 21 h 309"/>
                <a:gd name="T32" fmla="*/ 140 w 254"/>
                <a:gd name="T33" fmla="*/ 26 h 309"/>
                <a:gd name="T34" fmla="*/ 174 w 254"/>
                <a:gd name="T35" fmla="*/ 81 h 309"/>
                <a:gd name="T36" fmla="*/ 140 w 254"/>
                <a:gd name="T37" fmla="*/ 136 h 309"/>
                <a:gd name="T38" fmla="*/ 127 w 254"/>
                <a:gd name="T39" fmla="*/ 140 h 309"/>
                <a:gd name="T40" fmla="*/ 102 w 254"/>
                <a:gd name="T41" fmla="*/ 140 h 309"/>
                <a:gd name="T42" fmla="*/ 102 w 254"/>
                <a:gd name="T43" fmla="*/ 21 h 309"/>
                <a:gd name="T44" fmla="*/ 140 w 254"/>
                <a:gd name="T45" fmla="*/ 288 h 309"/>
                <a:gd name="T46" fmla="*/ 140 w 254"/>
                <a:gd name="T47" fmla="*/ 288 h 309"/>
                <a:gd name="T48" fmla="*/ 102 w 254"/>
                <a:gd name="T49" fmla="*/ 271 h 309"/>
                <a:gd name="T50" fmla="*/ 102 w 254"/>
                <a:gd name="T51" fmla="*/ 157 h 309"/>
                <a:gd name="T52" fmla="*/ 127 w 254"/>
                <a:gd name="T53" fmla="*/ 157 h 309"/>
                <a:gd name="T54" fmla="*/ 140 w 254"/>
                <a:gd name="T55" fmla="*/ 157 h 309"/>
                <a:gd name="T56" fmla="*/ 190 w 254"/>
                <a:gd name="T57" fmla="*/ 228 h 309"/>
                <a:gd name="T58" fmla="*/ 140 w 254"/>
                <a:gd name="T59" fmla="*/ 288 h 3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4"/>
                <a:gd name="T91" fmla="*/ 0 h 309"/>
                <a:gd name="T92" fmla="*/ 254 w 254"/>
                <a:gd name="T93" fmla="*/ 309 h 3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50" name="Freeform 13"/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>
                <a:gd name="T0" fmla="*/ 199 w 237"/>
                <a:gd name="T1" fmla="*/ 279 h 309"/>
                <a:gd name="T2" fmla="*/ 101 w 237"/>
                <a:gd name="T3" fmla="*/ 279 h 309"/>
                <a:gd name="T4" fmla="*/ 101 w 237"/>
                <a:gd name="T5" fmla="*/ 157 h 309"/>
                <a:gd name="T6" fmla="*/ 156 w 237"/>
                <a:gd name="T7" fmla="*/ 157 h 309"/>
                <a:gd name="T8" fmla="*/ 169 w 237"/>
                <a:gd name="T9" fmla="*/ 199 h 309"/>
                <a:gd name="T10" fmla="*/ 186 w 237"/>
                <a:gd name="T11" fmla="*/ 199 h 309"/>
                <a:gd name="T12" fmla="*/ 182 w 237"/>
                <a:gd name="T13" fmla="*/ 144 h 309"/>
                <a:gd name="T14" fmla="*/ 186 w 237"/>
                <a:gd name="T15" fmla="*/ 93 h 309"/>
                <a:gd name="T16" fmla="*/ 169 w 237"/>
                <a:gd name="T17" fmla="*/ 93 h 309"/>
                <a:gd name="T18" fmla="*/ 156 w 237"/>
                <a:gd name="T19" fmla="*/ 136 h 309"/>
                <a:gd name="T20" fmla="*/ 101 w 237"/>
                <a:gd name="T21" fmla="*/ 136 h 309"/>
                <a:gd name="T22" fmla="*/ 101 w 237"/>
                <a:gd name="T23" fmla="*/ 30 h 309"/>
                <a:gd name="T24" fmla="*/ 194 w 237"/>
                <a:gd name="T25" fmla="*/ 30 h 309"/>
                <a:gd name="T26" fmla="*/ 207 w 237"/>
                <a:gd name="T27" fmla="*/ 81 h 309"/>
                <a:gd name="T28" fmla="*/ 224 w 237"/>
                <a:gd name="T29" fmla="*/ 81 h 309"/>
                <a:gd name="T30" fmla="*/ 220 w 237"/>
                <a:gd name="T31" fmla="*/ 0 h 309"/>
                <a:gd name="T32" fmla="*/ 203 w 237"/>
                <a:gd name="T33" fmla="*/ 0 h 309"/>
                <a:gd name="T34" fmla="*/ 0 w 237"/>
                <a:gd name="T35" fmla="*/ 0 h 309"/>
                <a:gd name="T36" fmla="*/ 0 w 237"/>
                <a:gd name="T37" fmla="*/ 17 h 309"/>
                <a:gd name="T38" fmla="*/ 38 w 237"/>
                <a:gd name="T39" fmla="*/ 26 h 309"/>
                <a:gd name="T40" fmla="*/ 38 w 237"/>
                <a:gd name="T41" fmla="*/ 283 h 309"/>
                <a:gd name="T42" fmla="*/ 0 w 237"/>
                <a:gd name="T43" fmla="*/ 292 h 309"/>
                <a:gd name="T44" fmla="*/ 0 w 237"/>
                <a:gd name="T45" fmla="*/ 309 h 309"/>
                <a:gd name="T46" fmla="*/ 224 w 237"/>
                <a:gd name="T47" fmla="*/ 309 h 309"/>
                <a:gd name="T48" fmla="*/ 237 w 237"/>
                <a:gd name="T49" fmla="*/ 220 h 309"/>
                <a:gd name="T50" fmla="*/ 220 w 237"/>
                <a:gd name="T51" fmla="*/ 220 h 309"/>
                <a:gd name="T52" fmla="*/ 199 w 237"/>
                <a:gd name="T53" fmla="*/ 279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7"/>
                <a:gd name="T82" fmla="*/ 0 h 309"/>
                <a:gd name="T83" fmla="*/ 237 w 237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51" name="Freeform 14"/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>
                <a:gd name="T0" fmla="*/ 444 w 495"/>
                <a:gd name="T1" fmla="*/ 26 h 398"/>
                <a:gd name="T2" fmla="*/ 490 w 495"/>
                <a:gd name="T3" fmla="*/ 17 h 398"/>
                <a:gd name="T4" fmla="*/ 490 w 495"/>
                <a:gd name="T5" fmla="*/ 0 h 398"/>
                <a:gd name="T6" fmla="*/ 338 w 495"/>
                <a:gd name="T7" fmla="*/ 0 h 398"/>
                <a:gd name="T8" fmla="*/ 338 w 495"/>
                <a:gd name="T9" fmla="*/ 17 h 398"/>
                <a:gd name="T10" fmla="*/ 380 w 495"/>
                <a:gd name="T11" fmla="*/ 26 h 398"/>
                <a:gd name="T12" fmla="*/ 380 w 495"/>
                <a:gd name="T13" fmla="*/ 283 h 398"/>
                <a:gd name="T14" fmla="*/ 275 w 495"/>
                <a:gd name="T15" fmla="*/ 283 h 398"/>
                <a:gd name="T16" fmla="*/ 275 w 495"/>
                <a:gd name="T17" fmla="*/ 26 h 398"/>
                <a:gd name="T18" fmla="*/ 317 w 495"/>
                <a:gd name="T19" fmla="*/ 17 h 398"/>
                <a:gd name="T20" fmla="*/ 317 w 495"/>
                <a:gd name="T21" fmla="*/ 0 h 398"/>
                <a:gd name="T22" fmla="*/ 169 w 495"/>
                <a:gd name="T23" fmla="*/ 0 h 398"/>
                <a:gd name="T24" fmla="*/ 169 w 495"/>
                <a:gd name="T25" fmla="*/ 17 h 398"/>
                <a:gd name="T26" fmla="*/ 211 w 495"/>
                <a:gd name="T27" fmla="*/ 26 h 398"/>
                <a:gd name="T28" fmla="*/ 211 w 495"/>
                <a:gd name="T29" fmla="*/ 283 h 398"/>
                <a:gd name="T30" fmla="*/ 106 w 495"/>
                <a:gd name="T31" fmla="*/ 283 h 398"/>
                <a:gd name="T32" fmla="*/ 106 w 495"/>
                <a:gd name="T33" fmla="*/ 26 h 398"/>
                <a:gd name="T34" fmla="*/ 148 w 495"/>
                <a:gd name="T35" fmla="*/ 17 h 398"/>
                <a:gd name="T36" fmla="*/ 148 w 495"/>
                <a:gd name="T37" fmla="*/ 0 h 398"/>
                <a:gd name="T38" fmla="*/ 0 w 495"/>
                <a:gd name="T39" fmla="*/ 0 h 398"/>
                <a:gd name="T40" fmla="*/ 0 w 495"/>
                <a:gd name="T41" fmla="*/ 17 h 398"/>
                <a:gd name="T42" fmla="*/ 42 w 495"/>
                <a:gd name="T43" fmla="*/ 26 h 398"/>
                <a:gd name="T44" fmla="*/ 42 w 495"/>
                <a:gd name="T45" fmla="*/ 283 h 398"/>
                <a:gd name="T46" fmla="*/ 0 w 495"/>
                <a:gd name="T47" fmla="*/ 292 h 398"/>
                <a:gd name="T48" fmla="*/ 0 w 495"/>
                <a:gd name="T49" fmla="*/ 309 h 398"/>
                <a:gd name="T50" fmla="*/ 457 w 495"/>
                <a:gd name="T51" fmla="*/ 309 h 398"/>
                <a:gd name="T52" fmla="*/ 457 w 495"/>
                <a:gd name="T53" fmla="*/ 398 h 398"/>
                <a:gd name="T54" fmla="*/ 474 w 495"/>
                <a:gd name="T55" fmla="*/ 398 h 398"/>
                <a:gd name="T56" fmla="*/ 495 w 495"/>
                <a:gd name="T57" fmla="*/ 283 h 398"/>
                <a:gd name="T58" fmla="*/ 444 w 495"/>
                <a:gd name="T59" fmla="*/ 283 h 398"/>
                <a:gd name="T60" fmla="*/ 444 w 495"/>
                <a:gd name="T61" fmla="*/ 26 h 3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5"/>
                <a:gd name="T94" fmla="*/ 0 h 398"/>
                <a:gd name="T95" fmla="*/ 495 w 495"/>
                <a:gd name="T96" fmla="*/ 398 h 39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52" name="Freeform 15"/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>
                <a:gd name="T0" fmla="*/ 237 w 237"/>
                <a:gd name="T1" fmla="*/ 220 h 309"/>
                <a:gd name="T2" fmla="*/ 224 w 237"/>
                <a:gd name="T3" fmla="*/ 220 h 309"/>
                <a:gd name="T4" fmla="*/ 199 w 237"/>
                <a:gd name="T5" fmla="*/ 279 h 309"/>
                <a:gd name="T6" fmla="*/ 102 w 237"/>
                <a:gd name="T7" fmla="*/ 279 h 309"/>
                <a:gd name="T8" fmla="*/ 102 w 237"/>
                <a:gd name="T9" fmla="*/ 157 h 309"/>
                <a:gd name="T10" fmla="*/ 157 w 237"/>
                <a:gd name="T11" fmla="*/ 157 h 309"/>
                <a:gd name="T12" fmla="*/ 170 w 237"/>
                <a:gd name="T13" fmla="*/ 199 h 309"/>
                <a:gd name="T14" fmla="*/ 186 w 237"/>
                <a:gd name="T15" fmla="*/ 199 h 309"/>
                <a:gd name="T16" fmla="*/ 182 w 237"/>
                <a:gd name="T17" fmla="*/ 144 h 309"/>
                <a:gd name="T18" fmla="*/ 186 w 237"/>
                <a:gd name="T19" fmla="*/ 93 h 309"/>
                <a:gd name="T20" fmla="*/ 174 w 237"/>
                <a:gd name="T21" fmla="*/ 93 h 309"/>
                <a:gd name="T22" fmla="*/ 157 w 237"/>
                <a:gd name="T23" fmla="*/ 136 h 309"/>
                <a:gd name="T24" fmla="*/ 102 w 237"/>
                <a:gd name="T25" fmla="*/ 136 h 309"/>
                <a:gd name="T26" fmla="*/ 102 w 237"/>
                <a:gd name="T27" fmla="*/ 30 h 309"/>
                <a:gd name="T28" fmla="*/ 195 w 237"/>
                <a:gd name="T29" fmla="*/ 30 h 309"/>
                <a:gd name="T30" fmla="*/ 208 w 237"/>
                <a:gd name="T31" fmla="*/ 81 h 309"/>
                <a:gd name="T32" fmla="*/ 224 w 237"/>
                <a:gd name="T33" fmla="*/ 81 h 309"/>
                <a:gd name="T34" fmla="*/ 220 w 237"/>
                <a:gd name="T35" fmla="*/ 0 h 309"/>
                <a:gd name="T36" fmla="*/ 0 w 237"/>
                <a:gd name="T37" fmla="*/ 0 h 309"/>
                <a:gd name="T38" fmla="*/ 0 w 237"/>
                <a:gd name="T39" fmla="*/ 17 h 309"/>
                <a:gd name="T40" fmla="*/ 38 w 237"/>
                <a:gd name="T41" fmla="*/ 26 h 309"/>
                <a:gd name="T42" fmla="*/ 38 w 237"/>
                <a:gd name="T43" fmla="*/ 283 h 309"/>
                <a:gd name="T44" fmla="*/ 0 w 237"/>
                <a:gd name="T45" fmla="*/ 292 h 309"/>
                <a:gd name="T46" fmla="*/ 0 w 237"/>
                <a:gd name="T47" fmla="*/ 309 h 309"/>
                <a:gd name="T48" fmla="*/ 229 w 237"/>
                <a:gd name="T49" fmla="*/ 309 h 309"/>
                <a:gd name="T50" fmla="*/ 237 w 237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37"/>
                <a:gd name="T79" fmla="*/ 0 h 309"/>
                <a:gd name="T80" fmla="*/ 237 w 237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53" name="Freeform 16"/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>
                <a:gd name="T0" fmla="*/ 190 w 342"/>
                <a:gd name="T1" fmla="*/ 17 h 309"/>
                <a:gd name="T2" fmla="*/ 236 w 342"/>
                <a:gd name="T3" fmla="*/ 26 h 309"/>
                <a:gd name="T4" fmla="*/ 236 w 342"/>
                <a:gd name="T5" fmla="*/ 136 h 309"/>
                <a:gd name="T6" fmla="*/ 105 w 342"/>
                <a:gd name="T7" fmla="*/ 136 h 309"/>
                <a:gd name="T8" fmla="*/ 105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5 w 342"/>
                <a:gd name="T31" fmla="*/ 283 h 309"/>
                <a:gd name="T32" fmla="*/ 105 w 342"/>
                <a:gd name="T33" fmla="*/ 161 h 309"/>
                <a:gd name="T34" fmla="*/ 236 w 342"/>
                <a:gd name="T35" fmla="*/ 161 h 309"/>
                <a:gd name="T36" fmla="*/ 236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54" name="Freeform 17"/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>
                <a:gd name="T0" fmla="*/ 190 w 342"/>
                <a:gd name="T1" fmla="*/ 17 h 309"/>
                <a:gd name="T2" fmla="*/ 237 w 342"/>
                <a:gd name="T3" fmla="*/ 26 h 309"/>
                <a:gd name="T4" fmla="*/ 237 w 342"/>
                <a:gd name="T5" fmla="*/ 30 h 309"/>
                <a:gd name="T6" fmla="*/ 106 w 342"/>
                <a:gd name="T7" fmla="*/ 237 h 309"/>
                <a:gd name="T8" fmla="*/ 106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6 w 342"/>
                <a:gd name="T31" fmla="*/ 283 h 309"/>
                <a:gd name="T32" fmla="*/ 106 w 342"/>
                <a:gd name="T33" fmla="*/ 279 h 309"/>
                <a:gd name="T34" fmla="*/ 237 w 342"/>
                <a:gd name="T35" fmla="*/ 72 h 309"/>
                <a:gd name="T36" fmla="*/ 237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55" name="Freeform 18"/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>
                <a:gd name="T0" fmla="*/ 225 w 241"/>
                <a:gd name="T1" fmla="*/ 220 h 309"/>
                <a:gd name="T2" fmla="*/ 199 w 241"/>
                <a:gd name="T3" fmla="*/ 279 h 309"/>
                <a:gd name="T4" fmla="*/ 106 w 241"/>
                <a:gd name="T5" fmla="*/ 279 h 309"/>
                <a:gd name="T6" fmla="*/ 106 w 241"/>
                <a:gd name="T7" fmla="*/ 157 h 309"/>
                <a:gd name="T8" fmla="*/ 161 w 241"/>
                <a:gd name="T9" fmla="*/ 157 h 309"/>
                <a:gd name="T10" fmla="*/ 174 w 241"/>
                <a:gd name="T11" fmla="*/ 199 h 309"/>
                <a:gd name="T12" fmla="*/ 187 w 241"/>
                <a:gd name="T13" fmla="*/ 199 h 309"/>
                <a:gd name="T14" fmla="*/ 187 w 241"/>
                <a:gd name="T15" fmla="*/ 144 h 309"/>
                <a:gd name="T16" fmla="*/ 187 w 241"/>
                <a:gd name="T17" fmla="*/ 93 h 309"/>
                <a:gd name="T18" fmla="*/ 174 w 241"/>
                <a:gd name="T19" fmla="*/ 93 h 309"/>
                <a:gd name="T20" fmla="*/ 161 w 241"/>
                <a:gd name="T21" fmla="*/ 136 h 309"/>
                <a:gd name="T22" fmla="*/ 106 w 241"/>
                <a:gd name="T23" fmla="*/ 136 h 309"/>
                <a:gd name="T24" fmla="*/ 106 w 241"/>
                <a:gd name="T25" fmla="*/ 30 h 309"/>
                <a:gd name="T26" fmla="*/ 195 w 241"/>
                <a:gd name="T27" fmla="*/ 30 h 309"/>
                <a:gd name="T28" fmla="*/ 212 w 241"/>
                <a:gd name="T29" fmla="*/ 81 h 309"/>
                <a:gd name="T30" fmla="*/ 225 w 241"/>
                <a:gd name="T31" fmla="*/ 81 h 309"/>
                <a:gd name="T32" fmla="*/ 225 w 241"/>
                <a:gd name="T33" fmla="*/ 0 h 309"/>
                <a:gd name="T34" fmla="*/ 0 w 241"/>
                <a:gd name="T35" fmla="*/ 0 h 309"/>
                <a:gd name="T36" fmla="*/ 0 w 241"/>
                <a:gd name="T37" fmla="*/ 17 h 309"/>
                <a:gd name="T38" fmla="*/ 43 w 241"/>
                <a:gd name="T39" fmla="*/ 26 h 309"/>
                <a:gd name="T40" fmla="*/ 43 w 241"/>
                <a:gd name="T41" fmla="*/ 283 h 309"/>
                <a:gd name="T42" fmla="*/ 0 w 241"/>
                <a:gd name="T43" fmla="*/ 292 h 309"/>
                <a:gd name="T44" fmla="*/ 0 w 241"/>
                <a:gd name="T45" fmla="*/ 309 h 309"/>
                <a:gd name="T46" fmla="*/ 229 w 241"/>
                <a:gd name="T47" fmla="*/ 309 h 309"/>
                <a:gd name="T48" fmla="*/ 241 w 241"/>
                <a:gd name="T49" fmla="*/ 220 h 309"/>
                <a:gd name="T50" fmla="*/ 225 w 241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41"/>
                <a:gd name="T79" fmla="*/ 0 h 309"/>
                <a:gd name="T80" fmla="*/ 241 w 241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  <p:sp>
          <p:nvSpPr>
            <p:cNvPr id="22556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>
                <a:gd name="T0" fmla="*/ 317 w 630"/>
                <a:gd name="T1" fmla="*/ 774 h 774"/>
                <a:gd name="T2" fmla="*/ 587 w 630"/>
                <a:gd name="T3" fmla="*/ 668 h 774"/>
                <a:gd name="T4" fmla="*/ 630 w 630"/>
                <a:gd name="T5" fmla="*/ 85 h 774"/>
                <a:gd name="T6" fmla="*/ 317 w 630"/>
                <a:gd name="T7" fmla="*/ 0 h 774"/>
                <a:gd name="T8" fmla="*/ 160 w 630"/>
                <a:gd name="T9" fmla="*/ 42 h 774"/>
                <a:gd name="T10" fmla="*/ 0 w 630"/>
                <a:gd name="T11" fmla="*/ 85 h 774"/>
                <a:gd name="T12" fmla="*/ 42 w 630"/>
                <a:gd name="T13" fmla="*/ 668 h 774"/>
                <a:gd name="T14" fmla="*/ 160 w 630"/>
                <a:gd name="T15" fmla="*/ 715 h 774"/>
                <a:gd name="T16" fmla="*/ 317 w 630"/>
                <a:gd name="T17" fmla="*/ 774 h 774"/>
                <a:gd name="T18" fmla="*/ 160 w 630"/>
                <a:gd name="T19" fmla="*/ 76 h 774"/>
                <a:gd name="T20" fmla="*/ 160 w 630"/>
                <a:gd name="T21" fmla="*/ 76 h 774"/>
                <a:gd name="T22" fmla="*/ 224 w 630"/>
                <a:gd name="T23" fmla="*/ 59 h 774"/>
                <a:gd name="T24" fmla="*/ 160 w 630"/>
                <a:gd name="T25" fmla="*/ 161 h 774"/>
                <a:gd name="T26" fmla="*/ 105 w 630"/>
                <a:gd name="T27" fmla="*/ 258 h 774"/>
                <a:gd name="T28" fmla="*/ 105 w 630"/>
                <a:gd name="T29" fmla="*/ 186 h 774"/>
                <a:gd name="T30" fmla="*/ 101 w 630"/>
                <a:gd name="T31" fmla="*/ 93 h 774"/>
                <a:gd name="T32" fmla="*/ 160 w 630"/>
                <a:gd name="T33" fmla="*/ 76 h 774"/>
                <a:gd name="T34" fmla="*/ 76 w 630"/>
                <a:gd name="T35" fmla="*/ 643 h 774"/>
                <a:gd name="T36" fmla="*/ 76 w 630"/>
                <a:gd name="T37" fmla="*/ 643 h 774"/>
                <a:gd name="T38" fmla="*/ 55 w 630"/>
                <a:gd name="T39" fmla="*/ 385 h 774"/>
                <a:gd name="T40" fmla="*/ 114 w 630"/>
                <a:gd name="T41" fmla="*/ 389 h 774"/>
                <a:gd name="T42" fmla="*/ 160 w 630"/>
                <a:gd name="T43" fmla="*/ 313 h 774"/>
                <a:gd name="T44" fmla="*/ 228 w 630"/>
                <a:gd name="T45" fmla="*/ 203 h 774"/>
                <a:gd name="T46" fmla="*/ 224 w 630"/>
                <a:gd name="T47" fmla="*/ 275 h 774"/>
                <a:gd name="T48" fmla="*/ 228 w 630"/>
                <a:gd name="T49" fmla="*/ 397 h 774"/>
                <a:gd name="T50" fmla="*/ 317 w 630"/>
                <a:gd name="T51" fmla="*/ 402 h 774"/>
                <a:gd name="T52" fmla="*/ 317 w 630"/>
                <a:gd name="T53" fmla="*/ 34 h 774"/>
                <a:gd name="T54" fmla="*/ 596 w 630"/>
                <a:gd name="T55" fmla="*/ 110 h 774"/>
                <a:gd name="T56" fmla="*/ 575 w 630"/>
                <a:gd name="T57" fmla="*/ 385 h 774"/>
                <a:gd name="T58" fmla="*/ 494 w 630"/>
                <a:gd name="T59" fmla="*/ 389 h 774"/>
                <a:gd name="T60" fmla="*/ 507 w 630"/>
                <a:gd name="T61" fmla="*/ 156 h 774"/>
                <a:gd name="T62" fmla="*/ 410 w 630"/>
                <a:gd name="T63" fmla="*/ 140 h 774"/>
                <a:gd name="T64" fmla="*/ 406 w 630"/>
                <a:gd name="T65" fmla="*/ 397 h 774"/>
                <a:gd name="T66" fmla="*/ 317 w 630"/>
                <a:gd name="T67" fmla="*/ 402 h 774"/>
                <a:gd name="T68" fmla="*/ 317 w 630"/>
                <a:gd name="T69" fmla="*/ 736 h 774"/>
                <a:gd name="T70" fmla="*/ 160 w 630"/>
                <a:gd name="T71" fmla="*/ 676 h 774"/>
                <a:gd name="T72" fmla="*/ 76 w 630"/>
                <a:gd name="T73" fmla="*/ 643 h 7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30"/>
                <a:gd name="T112" fmla="*/ 0 h 774"/>
                <a:gd name="T113" fmla="*/ 630 w 630"/>
                <a:gd name="T114" fmla="*/ 774 h 77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endParaRPr lang="ru-RU"/>
            </a:p>
          </p:txBody>
        </p:sp>
      </p:grpSp>
      <p:sp>
        <p:nvSpPr>
          <p:cNvPr id="22533" name="Прямоугольник 49"/>
          <p:cNvSpPr>
            <a:spLocks noChangeArrowheads="1"/>
          </p:cNvSpPr>
          <p:nvPr/>
        </p:nvSpPr>
        <p:spPr bwMode="auto">
          <a:xfrm>
            <a:off x="5070475" y="1289050"/>
            <a:ext cx="745172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0073B8"/>
                </a:solidFill>
                <a:latin typeface="Open Sans"/>
                <a:ea typeface="Open Sans"/>
                <a:cs typeface="Open Sans"/>
              </a:rPr>
              <a:t>«Самая важная молекула или генетика с практикумом»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55516" y="104023"/>
            <a:ext cx="9697077" cy="461793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ea typeface="+mn-ea"/>
                <a:cs typeface="+mn-cs"/>
              </a:rPr>
              <a:t>Учебные пособия </a:t>
            </a:r>
            <a:r>
              <a:rPr lang="ru-RU" sz="2800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ea typeface="+mn-ea"/>
                <a:cs typeface="+mn-cs"/>
              </a:rPr>
              <a:t>по генетике 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50838" y="3128963"/>
            <a:ext cx="4591050" cy="93821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>
                <a:solidFill>
                  <a:srgbClr val="404040"/>
                </a:solidFill>
                <a:ea typeface="Open Sans"/>
                <a:cs typeface="Open Sans"/>
              </a:rPr>
              <a:t>Учебное пособие</a:t>
            </a:r>
            <a:r>
              <a:rPr lang="ru-RU" sz="1100">
                <a:solidFill>
                  <a:srgbClr val="404040"/>
                </a:solidFill>
                <a:ea typeface="Open Sans"/>
                <a:cs typeface="Open Sans"/>
              </a:rPr>
              <a:t>, 8–9 классы / под ред. Бородина П.М., Ворониной Е.Н.</a:t>
            </a:r>
          </a:p>
          <a:p>
            <a:r>
              <a:rPr lang="ru-RU" sz="1100" b="1">
                <a:solidFill>
                  <a:srgbClr val="404040"/>
                </a:solidFill>
                <a:ea typeface="Open Sans"/>
                <a:cs typeface="Open Sans"/>
              </a:rPr>
              <a:t>Авторы: </a:t>
            </a:r>
            <a:r>
              <a:rPr lang="ru-RU" sz="1100">
                <a:solidFill>
                  <a:srgbClr val="404040"/>
                </a:solidFill>
                <a:ea typeface="Open Sans"/>
                <a:cs typeface="Open Sans"/>
              </a:rPr>
              <a:t>профессиональные генетики-педагоги, которые занимаются разными направлениями генетической науки</a:t>
            </a:r>
          </a:p>
          <a:p>
            <a:pPr>
              <a:buClr>
                <a:srgbClr val="0073B8"/>
              </a:buClr>
            </a:pPr>
            <a:endParaRPr lang="ru-RU" sz="1100">
              <a:solidFill>
                <a:srgbClr val="404040"/>
              </a:solidFill>
              <a:ea typeface="Open Sans"/>
              <a:cs typeface="Open Sans"/>
            </a:endParaRPr>
          </a:p>
        </p:txBody>
      </p:sp>
      <p:sp>
        <p:nvSpPr>
          <p:cNvPr id="53" name="TextBox 52"/>
          <p:cNvSpPr txBox="1"/>
          <p:nvPr/>
        </p:nvSpPr>
        <p:spPr bwMode="auto">
          <a:xfrm>
            <a:off x="5070475" y="1644650"/>
            <a:ext cx="7089775" cy="20621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fontAlgn="auto"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Что такое проектирование и чем оно отличается от других типов деятельности, рассмотрены разные этап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роектирования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Ориентировано на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рактическую деятельность через интеллектуальные исследования, виртуальные лабораторные работы и реальный практикум со специализированным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оборудованием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Содержит задачи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о генетике, аналогичные заданиям на ЕГЭ и на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школьных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биологических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олимпиадах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7423150" y="5857875"/>
            <a:ext cx="4410075" cy="60007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Учебное пособие.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10–11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кл. 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Авторы</a:t>
            </a: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: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Кузьмин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И. В.,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Лавренов А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. Р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., Кукушкина И. В., Мустафин А. Г. и др. </a:t>
            </a:r>
          </a:p>
        </p:txBody>
      </p:sp>
      <p:sp>
        <p:nvSpPr>
          <p:cNvPr id="22538" name="Прямоугольник 54"/>
          <p:cNvSpPr>
            <a:spLocks noChangeArrowheads="1"/>
          </p:cNvSpPr>
          <p:nvPr/>
        </p:nvSpPr>
        <p:spPr bwMode="auto">
          <a:xfrm>
            <a:off x="750888" y="4133850"/>
            <a:ext cx="15859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rgbClr val="0073B8"/>
                </a:solidFill>
                <a:latin typeface="Open Sans"/>
                <a:ea typeface="Open Sans"/>
                <a:cs typeface="Open Sans"/>
              </a:rPr>
              <a:t>«Генетика»</a:t>
            </a:r>
          </a:p>
        </p:txBody>
      </p:sp>
      <p:sp>
        <p:nvSpPr>
          <p:cNvPr id="56" name="TextBox 55"/>
          <p:cNvSpPr txBox="1"/>
          <p:nvPr/>
        </p:nvSpPr>
        <p:spPr bwMode="auto">
          <a:xfrm>
            <a:off x="466725" y="4545013"/>
            <a:ext cx="6362700" cy="1846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fontAlgn="auto"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редставлен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материалы по классической и современной генетике, основные достижения и перспективы развития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науки</a:t>
            </a:r>
          </a:p>
          <a:p>
            <a:pPr marL="285750" indent="-285750" fontAlgn="auto"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детально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разобраны методы молекулярной генетики и генной инженерии, технологии секвенирования нового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околения</a:t>
            </a:r>
          </a:p>
          <a:p>
            <a:pPr marL="285750" indent="-285750" fontAlgn="auto"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одробны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алгоритмы решения всех видов задач по генетике завершают соответствующие раздел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курса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pic>
        <p:nvPicPr>
          <p:cNvPr id="22540" name="Рисунок 56"/>
          <p:cNvPicPr>
            <a:picLocks noChangeAspect="1"/>
          </p:cNvPicPr>
          <p:nvPr/>
        </p:nvPicPr>
        <p:blipFill>
          <a:blip r:embed="rId4"/>
          <a:srcRect b="50838"/>
          <a:stretch>
            <a:fillRect/>
          </a:stretch>
        </p:blipFill>
        <p:spPr bwMode="auto">
          <a:xfrm>
            <a:off x="407988" y="1355725"/>
            <a:ext cx="4559300" cy="149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41" name="Рисунок 57"/>
          <p:cNvPicPr>
            <a:picLocks noChangeAspect="1"/>
          </p:cNvPicPr>
          <p:nvPr/>
        </p:nvPicPr>
        <p:blipFill>
          <a:blip r:embed="rId5"/>
          <a:srcRect t="50134"/>
          <a:stretch>
            <a:fillRect/>
          </a:stretch>
        </p:blipFill>
        <p:spPr bwMode="auto">
          <a:xfrm>
            <a:off x="7423150" y="4133850"/>
            <a:ext cx="4410075" cy="159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9" name="Прямая соединительная линия 58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7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4579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4CE2003-A895-4AC3-AB03-11675AAA9298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3" y="109039"/>
            <a:ext cx="9677392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Генетика в современной школе. Содержание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24582" name="Рисунок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71175" y="139700"/>
            <a:ext cx="13525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Прямоугольник 16"/>
          <p:cNvSpPr/>
          <p:nvPr/>
        </p:nvSpPr>
        <p:spPr>
          <a:xfrm>
            <a:off x="211138" y="2339975"/>
            <a:ext cx="6627812" cy="439420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 лаборатории осваиваются основы современных дисциплин генетики: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тогенети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учение материальных осно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ледственност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тогенетик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е действия генов и их проявления в ходе индивидуального развит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рганизм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химическая генетик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– изучение механизмов передачи различных типов метаболически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цессов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яду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колений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муногенетик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учает наследственную обусловленность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ммунных свойст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каней и органов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ская генетик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– исследует роль генов в возникновении патологии у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еловек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екц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учает выведение новых пор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животных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ртов растений с нужными человеку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войствами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1392" y="984980"/>
            <a:ext cx="11844722" cy="152349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овременная лаборатория генетики в школе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основа для приобретения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учающимися знаний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 механизмах передачи и сохранения наследственной информации, использовании генетических законов в гибридизации, проявлении мутаций, проявлении генетических законов на различных уровнях организации живой материи</a:t>
            </a:r>
          </a:p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585" name="Рисунок 12"/>
          <p:cNvPicPr>
            <a:picLocks noChangeAspect="1"/>
          </p:cNvPicPr>
          <p:nvPr/>
        </p:nvPicPr>
        <p:blipFill>
          <a:blip r:embed="rId5"/>
          <a:srcRect l="7750" r="4211"/>
          <a:stretch>
            <a:fillRect/>
          </a:stretch>
        </p:blipFill>
        <p:spPr bwMode="auto">
          <a:xfrm>
            <a:off x="6867525" y="2087563"/>
            <a:ext cx="5510213" cy="3519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/>
        </p:nvSpPr>
        <p:spPr>
          <a:xfrm>
            <a:off x="6867525" y="5692775"/>
            <a:ext cx="5156200" cy="100012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спользуемые методы:</a:t>
            </a:r>
            <a:endParaRPr lang="ru-RU" sz="1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тогенетический, молекулярный,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бридологический, генеалогическ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5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6627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ACD6E46-D4E7-4EDA-93FB-B37E6F9BEF4D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3" y="109039"/>
            <a:ext cx="9677392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Генетика в современной школе. Инфраструктура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26630" name="Рисунок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71175" y="139700"/>
            <a:ext cx="13525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211392" y="984980"/>
            <a:ext cx="11844722" cy="61555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овременная лаборатория генетики в школе 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лабораторно-исследовательский комплекс, оснащенный высокотехнологичным оборудованием</a:t>
            </a: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138" y="2381250"/>
            <a:ext cx="3149600" cy="25812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6633" name="Группа 1"/>
          <p:cNvGrpSpPr>
            <a:grpSpLocks/>
          </p:cNvGrpSpPr>
          <p:nvPr/>
        </p:nvGrpSpPr>
        <p:grpSpPr bwMode="auto">
          <a:xfrm>
            <a:off x="4244975" y="2381250"/>
            <a:ext cx="2135188" cy="1066800"/>
            <a:chOff x="4394650" y="2381044"/>
            <a:chExt cx="2134647" cy="1066891"/>
          </a:xfrm>
        </p:grpSpPr>
        <p:pic>
          <p:nvPicPr>
            <p:cNvPr id="26649" name="Grafik 2" descr="PHYWE Trinokulares Kursmikroskop MIC-231, 1000x, mit Kreuztisch, Unendlichoptik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394650" y="2381044"/>
              <a:ext cx="1121062" cy="10668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50" name="Picture 14" descr="854779f9b9c546db85c978278d9bf4b5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580949" y="2381044"/>
              <a:ext cx="948348" cy="10668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634" name="Прямоугольник 17"/>
          <p:cNvSpPr>
            <a:spLocks noChangeArrowheads="1"/>
          </p:cNvSpPr>
          <p:nvPr/>
        </p:nvSpPr>
        <p:spPr bwMode="auto">
          <a:xfrm>
            <a:off x="206375" y="5035550"/>
            <a:ext cx="448468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Комплекты микропрепаратов:</a:t>
            </a:r>
          </a:p>
          <a:p>
            <a:r>
              <a:rPr lang="ru-RU"/>
              <a:t>Патогенные бактерии         </a:t>
            </a:r>
            <a:r>
              <a:rPr lang="en-US"/>
              <a:t>Covid-19</a:t>
            </a:r>
            <a:endParaRPr lang="ru-RU"/>
          </a:p>
        </p:txBody>
      </p:sp>
      <p:pic>
        <p:nvPicPr>
          <p:cNvPr id="26635" name="Picture 3" descr="758a4b649dbf4f9cbae3fc5b00d3016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06375" y="5734050"/>
            <a:ext cx="2041525" cy="103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36" name="Picture 15" descr="325be82140da45c6b32b37bf0185c0ec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668588" y="5734050"/>
            <a:ext cx="2022475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37" name="Прямоугольник 21"/>
          <p:cNvSpPr>
            <a:spLocks noChangeArrowheads="1"/>
          </p:cNvSpPr>
          <p:nvPr/>
        </p:nvSpPr>
        <p:spPr bwMode="auto">
          <a:xfrm>
            <a:off x="4953000" y="4346575"/>
            <a:ext cx="275113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Оборудование для </a:t>
            </a:r>
          </a:p>
          <a:p>
            <a:pPr algn="ctr"/>
            <a:r>
              <a:rPr lang="ru-RU"/>
              <a:t>ПЦР-диагностики</a:t>
            </a:r>
          </a:p>
        </p:txBody>
      </p:sp>
      <p:pic>
        <p:nvPicPr>
          <p:cNvPr id="26638" name="Picture 2" descr="afa45298990c4763a7acef19b9e43a6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857750" y="3348038"/>
            <a:ext cx="935038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39" name="Picture 4" descr="7fdff11385ba4c4dbad1e03de9eb3065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462588" y="5051425"/>
            <a:ext cx="173355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40" name="Прямоугольник 24"/>
          <p:cNvSpPr>
            <a:spLocks noChangeArrowheads="1"/>
          </p:cNvSpPr>
          <p:nvPr/>
        </p:nvSpPr>
        <p:spPr bwMode="auto">
          <a:xfrm>
            <a:off x="7737475" y="4346575"/>
            <a:ext cx="362426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Автоматические дозаторы нового поколения</a:t>
            </a:r>
          </a:p>
        </p:txBody>
      </p:sp>
      <p:grpSp>
        <p:nvGrpSpPr>
          <p:cNvPr id="26641" name="Группа 5"/>
          <p:cNvGrpSpPr>
            <a:grpSpLocks/>
          </p:cNvGrpSpPr>
          <p:nvPr/>
        </p:nvGrpSpPr>
        <p:grpSpPr bwMode="auto">
          <a:xfrm>
            <a:off x="7845425" y="5051425"/>
            <a:ext cx="3408363" cy="1673225"/>
            <a:chOff x="7904806" y="5304013"/>
            <a:chExt cx="3406843" cy="1673525"/>
          </a:xfrm>
        </p:grpSpPr>
        <p:pic>
          <p:nvPicPr>
            <p:cNvPr id="26647" name="Рисунок 25"/>
            <p:cNvPicPr>
              <a:picLocks noChangeAspect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7904806" y="5304013"/>
              <a:ext cx="1673525" cy="1673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48" name="Рисунок 26"/>
            <p:cNvPicPr>
              <a:picLocks noChangeAspect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0250377" y="5610139"/>
              <a:ext cx="1061272" cy="1061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642" name="Прямоугольник 27"/>
          <p:cNvSpPr>
            <a:spLocks noChangeArrowheads="1"/>
          </p:cNvSpPr>
          <p:nvPr/>
        </p:nvSpPr>
        <p:spPr bwMode="auto">
          <a:xfrm>
            <a:off x="7245350" y="1695450"/>
            <a:ext cx="46085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Комплекты учебного оборудования для практических работ с набором реактивов</a:t>
            </a:r>
          </a:p>
        </p:txBody>
      </p:sp>
      <p:pic>
        <p:nvPicPr>
          <p:cNvPr id="26643" name="Picture 11" descr="99b831661d764f5bb5f4231a03c3d6b9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326313" y="2381250"/>
            <a:ext cx="2171700" cy="138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44" name="Picture 16" descr="01d14d1d75954858af53358ca28bdc17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9628188" y="2381250"/>
            <a:ext cx="2144712" cy="166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45" name="Прямоугольник 31"/>
          <p:cNvSpPr>
            <a:spLocks noChangeArrowheads="1"/>
          </p:cNvSpPr>
          <p:nvPr/>
        </p:nvSpPr>
        <p:spPr bwMode="auto">
          <a:xfrm>
            <a:off x="211138" y="1695450"/>
            <a:ext cx="31496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Лабораторная мебель  </a:t>
            </a:r>
          </a:p>
        </p:txBody>
      </p:sp>
      <p:sp>
        <p:nvSpPr>
          <p:cNvPr id="26646" name="Прямоугольник 32"/>
          <p:cNvSpPr>
            <a:spLocks noChangeArrowheads="1"/>
          </p:cNvSpPr>
          <p:nvPr/>
        </p:nvSpPr>
        <p:spPr bwMode="auto">
          <a:xfrm>
            <a:off x="4090988" y="1695450"/>
            <a:ext cx="24447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/>
              <a:t>Оптические прибо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3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675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F927B42-8D0E-451B-AFA4-CD91C486EBFA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3" y="109039"/>
            <a:ext cx="9677392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Генетика в современной школе. Подготовка кадров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28678" name="Рисунок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71175" y="139700"/>
            <a:ext cx="13525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211392" y="984980"/>
            <a:ext cx="11844722" cy="1231106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актикоориентированные</a:t>
            </a:r>
            <a: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курсы повышения квалификации</a:t>
            </a:r>
            <a:b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Генетические технологии в структуре современного биологического образования. Особенности содержания и методики обучения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680" name="Прямоугольник 33"/>
          <p:cNvSpPr>
            <a:spLocks noChangeArrowheads="1"/>
          </p:cNvSpPr>
          <p:nvPr/>
        </p:nvSpPr>
        <p:spPr bwMode="auto">
          <a:xfrm>
            <a:off x="211138" y="2022475"/>
            <a:ext cx="1181258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C00000"/>
                </a:solidFill>
              </a:rPr>
              <a:t>Цель курса: </a:t>
            </a:r>
            <a:r>
              <a:rPr lang="ru-RU"/>
              <a:t>совершенствование профессиональных компетенций педагогов в области проведения современного учебного занятия по генетике с использованием высокотехнологичного оборудования лаборатории генетики, обеспечение педагогов теоретическими знаниями и практическими инструментами для изучения генетических технологий и организации практикума по генетике в школе</a:t>
            </a:r>
          </a:p>
        </p:txBody>
      </p:sp>
      <p:sp>
        <p:nvSpPr>
          <p:cNvPr id="36" name="Шестиугольник 35">
            <a:extLst>
              <a:ext uri="{FF2B5EF4-FFF2-40B4-BE49-F238E27FC236}"/>
            </a:extLst>
          </p:cNvPr>
          <p:cNvSpPr>
            <a:spLocks noChangeAspect="1"/>
          </p:cNvSpPr>
          <p:nvPr/>
        </p:nvSpPr>
        <p:spPr>
          <a:xfrm>
            <a:off x="15875" y="4984750"/>
            <a:ext cx="1785938" cy="1547813"/>
          </a:xfrm>
          <a:prstGeom prst="hexagon">
            <a:avLst/>
          </a:prstGeom>
          <a:blipFill>
            <a:blip r:embed="rId5" cstate="print">
              <a:alphaModFix amt="70000"/>
            </a:blip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8" name="Шестиугольник 37">
            <a:extLst>
              <a:ext uri="{FF2B5EF4-FFF2-40B4-BE49-F238E27FC236}"/>
            </a:extLst>
          </p:cNvPr>
          <p:cNvSpPr>
            <a:spLocks noChangeAspect="1"/>
          </p:cNvSpPr>
          <p:nvPr/>
        </p:nvSpPr>
        <p:spPr>
          <a:xfrm>
            <a:off x="15875" y="3395663"/>
            <a:ext cx="1785938" cy="1547812"/>
          </a:xfrm>
          <a:prstGeom prst="hexagon">
            <a:avLst/>
          </a:prstGeom>
          <a:blipFill>
            <a:blip r:embed="rId6" cstate="print">
              <a:alphaModFix amt="70000"/>
            </a:blip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5" name="Шестиугольник 34">
            <a:extLst>
              <a:ext uri="{FF2B5EF4-FFF2-40B4-BE49-F238E27FC236}"/>
            </a:extLst>
          </p:cNvPr>
          <p:cNvSpPr>
            <a:spLocks noChangeAspect="1"/>
          </p:cNvSpPr>
          <p:nvPr/>
        </p:nvSpPr>
        <p:spPr>
          <a:xfrm>
            <a:off x="1443038" y="4191000"/>
            <a:ext cx="1785937" cy="1547813"/>
          </a:xfrm>
          <a:prstGeom prst="hexagon">
            <a:avLst/>
          </a:prstGeom>
          <a:blipFill>
            <a:blip r:embed="rId7" cstate="print">
              <a:alphaModFix amt="70000"/>
            </a:blip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684" name="Прямоугольник 42"/>
          <p:cNvSpPr>
            <a:spLocks noChangeArrowheads="1"/>
          </p:cNvSpPr>
          <p:nvPr/>
        </p:nvSpPr>
        <p:spPr bwMode="auto">
          <a:xfrm>
            <a:off x="3390900" y="3195638"/>
            <a:ext cx="8632825" cy="352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>
                <a:solidFill>
                  <a:srgbClr val="C00000"/>
                </a:solidFill>
              </a:rPr>
              <a:t>«Генетические технологии – через весь курс биологии» </a:t>
            </a:r>
            <a:r>
              <a:rPr lang="ru-RU" sz="1600"/>
              <a:t>– теоретическая подготовка педагогов, сопряженная с методикой применения новых знаний для обновления школьных занятий по направлению генетики и генной инженерии</a:t>
            </a:r>
          </a:p>
          <a:p>
            <a:pPr>
              <a:spcAft>
                <a:spcPts val="600"/>
              </a:spcAft>
            </a:pPr>
            <a:r>
              <a:rPr lang="ru-RU" sz="1600" b="1">
                <a:solidFill>
                  <a:srgbClr val="C00000"/>
                </a:solidFill>
              </a:rPr>
              <a:t>«Генетические технологии на практике» </a:t>
            </a:r>
            <a:r>
              <a:rPr lang="ru-RU" sz="1600"/>
              <a:t>– методическая подготовка педагогов для организации эффективного практикума по генетике в школе</a:t>
            </a:r>
          </a:p>
          <a:p>
            <a:pPr>
              <a:spcAft>
                <a:spcPts val="600"/>
              </a:spcAft>
            </a:pPr>
            <a:r>
              <a:rPr lang="ru-RU" sz="1600" b="1">
                <a:solidFill>
                  <a:srgbClr val="C00000"/>
                </a:solidFill>
              </a:rPr>
              <a:t>«Генетика из первых уст» </a:t>
            </a:r>
            <a:r>
              <a:rPr lang="ru-RU" sz="1600"/>
              <a:t>– преподаватели курса – ученые ведущих вузов в данной сфере (факультет фундаментальной медицины, биологический факультет МГУ, НИЦ «Курчатовский институт», Институт генетики) и ведущие специалисты учреждений, развивающих генетические исследования на территории Российской Федерации (практическая сторона генетических технологий)</a:t>
            </a:r>
          </a:p>
          <a:p>
            <a:pPr>
              <a:spcAft>
                <a:spcPts val="600"/>
              </a:spcAft>
            </a:pPr>
            <a:r>
              <a:rPr lang="ru-RU" sz="1600" b="1">
                <a:solidFill>
                  <a:srgbClr val="C00000"/>
                </a:solidFill>
              </a:rPr>
              <a:t>«Генетика – территория успеха» </a:t>
            </a:r>
            <a:r>
              <a:rPr lang="ru-RU" sz="1600"/>
              <a:t>– преподаватели курса – педагоги-практики, успешно реализующие образовательные программы с использованием новейшего оборудования и разрешающие все трудности преподавания генетики в современной школ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1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072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D3312CA-E239-4372-8D42-9FE96DC53B41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3" y="109039"/>
            <a:ext cx="9677392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Генетика в современной школе. Подготовка кадров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30726" name="Рисунок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71175" y="139700"/>
            <a:ext cx="13525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211392" y="984980"/>
            <a:ext cx="11844722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Генетические технологии в структуре современного биологического образования. Особенности содержания и методики обучения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28" name="Прямоугольник 13"/>
          <p:cNvSpPr>
            <a:spLocks noChangeArrowheads="1"/>
          </p:cNvSpPr>
          <p:nvPr/>
        </p:nvSpPr>
        <p:spPr bwMode="auto">
          <a:xfrm>
            <a:off x="211138" y="1778000"/>
            <a:ext cx="11812587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C00000"/>
                </a:solidFill>
              </a:rPr>
              <a:t>Трудоемкость программы обучения </a:t>
            </a:r>
            <a:r>
              <a:rPr lang="ru-RU"/>
              <a:t>– 72 ак.ч.</a:t>
            </a:r>
          </a:p>
          <a:p>
            <a:r>
              <a:rPr lang="ru-RU" b="1">
                <a:solidFill>
                  <a:srgbClr val="C00000"/>
                </a:solidFill>
              </a:rPr>
              <a:t>По результатам обучения </a:t>
            </a:r>
            <a:r>
              <a:rPr lang="ru-RU"/>
              <a:t>– удостоверение о повышении квалификации установленного образца</a:t>
            </a:r>
          </a:p>
          <a:p>
            <a:pPr algn="ctr">
              <a:spcBef>
                <a:spcPts val="2400"/>
              </a:spcBef>
            </a:pPr>
            <a:r>
              <a:rPr lang="ru-RU" b="1"/>
              <a:t>Модульный принцип построения программы обучения</a:t>
            </a:r>
          </a:p>
          <a:p>
            <a:endParaRPr lang="ru-RU"/>
          </a:p>
        </p:txBody>
      </p:sp>
      <p:sp>
        <p:nvSpPr>
          <p:cNvPr id="30729" name="Прямоугольник 1"/>
          <p:cNvSpPr>
            <a:spLocks noChangeArrowheads="1"/>
          </p:cNvSpPr>
          <p:nvPr/>
        </p:nvSpPr>
        <p:spPr bwMode="auto">
          <a:xfrm>
            <a:off x="211138" y="3230563"/>
            <a:ext cx="5040312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>
                <a:solidFill>
                  <a:srgbClr val="C00000"/>
                </a:solidFill>
              </a:rPr>
              <a:t>Модуль </a:t>
            </a:r>
            <a:r>
              <a:rPr lang="en-US" b="1">
                <a:solidFill>
                  <a:srgbClr val="C00000"/>
                </a:solidFill>
              </a:rPr>
              <a:t>I</a:t>
            </a:r>
            <a:r>
              <a:rPr lang="ru-RU" b="1">
                <a:solidFill>
                  <a:srgbClr val="C00000"/>
                </a:solidFill>
              </a:rPr>
              <a:t>. Современная генетика. Содержание и методики обучения</a:t>
            </a:r>
            <a:endParaRPr lang="ru-RU" sz="1600" b="1">
              <a:solidFill>
                <a:srgbClr val="C00000"/>
              </a:solidFill>
              <a:cs typeface="Calibri" pitchFamily="34" charset="0"/>
            </a:endParaRPr>
          </a:p>
        </p:txBody>
      </p:sp>
      <p:sp>
        <p:nvSpPr>
          <p:cNvPr id="30730" name="Прямоугольник 4"/>
          <p:cNvSpPr>
            <a:spLocks noChangeArrowheads="1"/>
          </p:cNvSpPr>
          <p:nvPr/>
        </p:nvSpPr>
        <p:spPr bwMode="auto">
          <a:xfrm>
            <a:off x="6413500" y="3230563"/>
            <a:ext cx="5040313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>
                <a:solidFill>
                  <a:srgbClr val="C00000"/>
                </a:solidFill>
              </a:rPr>
              <a:t>Модуль II. Лабораторная генетика. Практика использования оборудования</a:t>
            </a:r>
            <a:endParaRPr lang="ru-RU" sz="1600" b="1">
              <a:solidFill>
                <a:srgbClr val="C00000"/>
              </a:solidFill>
              <a:cs typeface="Calibri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11138" y="3943350"/>
            <a:ext cx="5040312" cy="267970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u="sng" dirty="0">
                <a:latin typeface="Arial" panose="020B0604020202020204" pitchFamily="34" charset="0"/>
                <a:cs typeface="Arial" panose="020B0604020202020204" pitchFamily="34" charset="0"/>
              </a:rPr>
              <a:t>Дистанционная форма обучения: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нтерактивные видео-лекции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нлайн-практикумы и тренажеры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етодические семинары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актические и методические подборки материалов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нтрольные работы</a:t>
            </a:r>
            <a:endParaRPr lang="ru-RU" sz="1600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413500" y="4021138"/>
            <a:ext cx="5040313" cy="313690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u="sng" dirty="0">
                <a:latin typeface="Arial" panose="020B0604020202020204" pitchFamily="34" charset="0"/>
                <a:cs typeface="Arial" panose="020B0604020202020204" pitchFamily="34" charset="0"/>
              </a:rPr>
              <a:t>Очная форма обучения: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нтерактивные лекции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минары и практикумы решения задач по генетике различного уровня сложности, включая олимпиадные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абораторные и практические работы с использованием высокотехнологичного оборудования</a:t>
            </a:r>
          </a:p>
          <a:p>
            <a:pPr marL="285750" indent="-28575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endParaRPr lang="ru-RU" sz="1600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69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188825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2771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11455400" y="6415088"/>
            <a:ext cx="619125" cy="3571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F94F244-98E7-402A-BF3F-1E107C8FEF11}" type="slidenum">
              <a:rPr lang="ru-RU" sz="1800" b="1">
                <a:solidFill>
                  <a:srgbClr val="7F7F7F"/>
                </a:solidFill>
                <a:latin typeface="Open Sans Light"/>
                <a:ea typeface="Open Sans Light"/>
                <a:cs typeface="Open Sans Ligh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z="1800" b="1">
              <a:solidFill>
                <a:srgbClr val="7F7F7F"/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/>
            </a:extLst>
          </p:cNvPr>
          <p:cNvCxnSpPr/>
          <p:nvPr/>
        </p:nvCxnSpPr>
        <p:spPr>
          <a:xfrm>
            <a:off x="0" y="603250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3" y="109039"/>
            <a:ext cx="9677392" cy="4308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Генетика в современной школе. Подготовка кадров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+mn-lt"/>
              <a:cs typeface="+mn-cs"/>
            </a:endParaRPr>
          </a:p>
        </p:txBody>
      </p:sp>
      <p:pic>
        <p:nvPicPr>
          <p:cNvPr id="32774" name="Рисунок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71175" y="139700"/>
            <a:ext cx="13525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211392" y="984980"/>
            <a:ext cx="11844722" cy="61555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одержание программы обучения</a:t>
            </a:r>
            <a:br>
              <a:rPr lang="ru-RU" sz="2000" b="1" spc="-4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234950" y="1927225"/>
          <a:ext cx="3741738" cy="26749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8175">
                  <a:extLst>
                    <a:ext uri="{9D8B030D-6E8A-4147-A177-3AD203B41FA5}"/>
                  </a:extLst>
                </a:gridCol>
                <a:gridCol w="3343271">
                  <a:extLst>
                    <a:ext uri="{9D8B030D-6E8A-4147-A177-3AD203B41FA5}"/>
                  </a:extLst>
                </a:gridCol>
              </a:tblGrid>
              <a:tr h="480695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</a:rPr>
                        <a:t>Модуль </a:t>
                      </a:r>
                      <a:r>
                        <a:rPr lang="en-US" sz="1800" dirty="0">
                          <a:effectLst/>
                        </a:rPr>
                        <a:t>I</a:t>
                      </a:r>
                      <a:r>
                        <a:rPr lang="ru-RU" sz="1800" dirty="0">
                          <a:effectLst/>
                        </a:rPr>
                        <a:t>. Современная </a:t>
                      </a:r>
                      <a:r>
                        <a:rPr lang="ru-RU" sz="1800" dirty="0" smtClean="0">
                          <a:effectLst/>
                        </a:rPr>
                        <a:t>генетика. Содержание и методики обучения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/>
                </a:extLst>
              </a:tr>
              <a:tr h="209550">
                <a:tc>
                  <a:txBody>
                    <a:bodyPr/>
                    <a:lstStyle/>
                    <a:p>
                      <a:pPr marL="1588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</a:rPr>
                        <a:t>1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 smtClean="0">
                          <a:effectLst/>
                        </a:rPr>
                        <a:t>Раздел 1. </a:t>
                      </a:r>
                      <a:r>
                        <a:rPr lang="ru-RU" sz="1600" dirty="0" smtClean="0">
                          <a:effectLst/>
                        </a:rPr>
                        <a:t>Закономерности </a:t>
                      </a:r>
                      <a:r>
                        <a:rPr lang="ru-RU" sz="1600" dirty="0">
                          <a:effectLst/>
                        </a:rPr>
                        <a:t>наследования признаков и принципы наследственности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</a:rPr>
                        <a:t>2.</a:t>
                      </a:r>
                      <a:endParaRPr lang="ru-RU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effectLst/>
                        </a:rPr>
                        <a:t>Раздел 2. </a:t>
                      </a:r>
                      <a:r>
                        <a:rPr lang="ru-RU" sz="1600" dirty="0">
                          <a:effectLst/>
                        </a:rPr>
                        <a:t>Генетика человека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3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</a:rPr>
                        <a:t>3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effectLst/>
                        </a:rPr>
                        <a:t>Раздел 3. </a:t>
                      </a:r>
                      <a:r>
                        <a:rPr lang="ru-RU" sz="1600" dirty="0">
                          <a:effectLst/>
                        </a:rPr>
                        <a:t>Генетика популяций и генетические основы эволюции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2286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</a:rPr>
                        <a:t>4.</a:t>
                      </a:r>
                      <a:endParaRPr lang="ru-RU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effectLst/>
                        </a:rPr>
                        <a:t>Раздел 4. </a:t>
                      </a:r>
                      <a:r>
                        <a:rPr lang="ru-RU" sz="1600" dirty="0">
                          <a:effectLst/>
                        </a:rPr>
                        <a:t>Генетические основы селекции и биотехнологии 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295775" y="1927225"/>
          <a:ext cx="7689850" cy="48672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7093">
                  <a:extLst>
                    <a:ext uri="{9D8B030D-6E8A-4147-A177-3AD203B41FA5}"/>
                  </a:extLst>
                </a:gridCol>
                <a:gridCol w="6782607">
                  <a:extLst>
                    <a:ext uri="{9D8B030D-6E8A-4147-A177-3AD203B41FA5}"/>
                  </a:extLst>
                </a:gridCol>
              </a:tblGrid>
              <a:tr h="56197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</a:rPr>
                        <a:t>Модуль II. Лабораторная </a:t>
                      </a:r>
                      <a:r>
                        <a:rPr lang="ru-RU" sz="1800" dirty="0" smtClean="0">
                          <a:effectLst/>
                        </a:rPr>
                        <a:t>генетика. Практика использования оборудования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</a:rPr>
                        <a:t>1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effectLst/>
                        </a:rPr>
                        <a:t>Раздел 1.</a:t>
                      </a:r>
                      <a:r>
                        <a:rPr lang="ru-RU" sz="1600" dirty="0">
                          <a:effectLst/>
                        </a:rPr>
                        <a:t> Решение задач по генетике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</a:rPr>
                        <a:t>1.1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</a:rPr>
                        <a:t>Решение </a:t>
                      </a:r>
                      <a:r>
                        <a:rPr lang="ru-RU" sz="1400" dirty="0" smtClean="0">
                          <a:effectLst/>
                        </a:rPr>
                        <a:t>задач </a:t>
                      </a:r>
                      <a:r>
                        <a:rPr lang="ru-RU" sz="1400" dirty="0">
                          <a:effectLst/>
                        </a:rPr>
                        <a:t>ЕГЭ по генетике </a:t>
                      </a:r>
                      <a:r>
                        <a:rPr lang="ru-RU" sz="1400" dirty="0" smtClean="0">
                          <a:effectLst/>
                        </a:rPr>
                        <a:t>повышенного и высокого уровня </a:t>
                      </a:r>
                      <a:r>
                        <a:rPr lang="ru-RU" sz="1400" dirty="0">
                          <a:effectLst/>
                        </a:rPr>
                        <a:t>сложности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</a:rPr>
                        <a:t>1.2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Решение олимпиадных задач по генетике</a:t>
                      </a:r>
                      <a:endParaRPr lang="ru-RU" sz="1200" b="1" dirty="0">
                        <a:solidFill>
                          <a:srgbClr val="4F81BD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</a:rPr>
                        <a:t>2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 smtClean="0">
                          <a:effectLst/>
                        </a:rPr>
                        <a:t>Раздел 2. </a:t>
                      </a:r>
                      <a:r>
                        <a:rPr lang="ru-RU" sz="1600" dirty="0" smtClean="0">
                          <a:effectLst/>
                        </a:rPr>
                        <a:t>Лабораторные работы </a:t>
                      </a:r>
                      <a:r>
                        <a:rPr lang="ru-RU" sz="1600" dirty="0">
                          <a:effectLst/>
                        </a:rPr>
                        <a:t>по генетике с </a:t>
                      </a:r>
                      <a:r>
                        <a:rPr lang="ru-RU" sz="1600" dirty="0" smtClean="0">
                          <a:effectLst/>
                        </a:rPr>
                        <a:t>использованием </a:t>
                      </a:r>
                      <a:r>
                        <a:rPr lang="ru-RU" sz="1600" dirty="0">
                          <a:effectLst/>
                        </a:rPr>
                        <a:t>специализированного оборудования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</a:rPr>
                        <a:t>2.1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лекулярные </a:t>
                      </a:r>
                      <a:r>
                        <a:rPr lang="ru-RU" sz="14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 цитологические основы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ледственности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Поведение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ромосом при митозе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2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тоды генетики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риологический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нализ организмов различных вид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итоплазматическая наследственность.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лектрофорез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змидной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НК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4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ория гена.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лучение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НК из организма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5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тоды </a:t>
                      </a:r>
                      <a:r>
                        <a:rPr lang="ru-RU" sz="14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нетики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овека.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нетическая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ктилоскопия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6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ледование </a:t>
                      </a:r>
                      <a:r>
                        <a:rPr lang="ru-RU" sz="14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овека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пределение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уппы крови и резус фактора человека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7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ледственные </a:t>
                      </a:r>
                      <a:r>
                        <a:rPr lang="ru-RU" sz="14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езни и их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лассификация.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ледственные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езни человека. Медико-диагностическое консультирование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8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пуляционная генетика.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ределение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дственности организм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9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нетическая изменчивость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Типология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таций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85725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0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900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нетические </a:t>
                      </a:r>
                      <a:r>
                        <a:rPr lang="ru-RU" sz="14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новы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иотехнологии.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ияние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ерментов на процесс пищеварения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32844" name="Прямоугольник 19"/>
          <p:cNvSpPr>
            <a:spLocks noChangeArrowheads="1"/>
          </p:cNvSpPr>
          <p:nvPr/>
        </p:nvSpPr>
        <p:spPr bwMode="auto">
          <a:xfrm>
            <a:off x="336550" y="1530350"/>
            <a:ext cx="35385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ym typeface="Roboto"/>
              </a:rPr>
              <a:t>Дистанционное обучение</a:t>
            </a:r>
            <a:endParaRPr lang="ru-RU" b="1"/>
          </a:p>
        </p:txBody>
      </p:sp>
      <p:sp>
        <p:nvSpPr>
          <p:cNvPr id="32845" name="Прямоугольник 20"/>
          <p:cNvSpPr>
            <a:spLocks noChangeArrowheads="1"/>
          </p:cNvSpPr>
          <p:nvPr/>
        </p:nvSpPr>
        <p:spPr bwMode="auto">
          <a:xfrm>
            <a:off x="5978525" y="1530350"/>
            <a:ext cx="43227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ym typeface="Roboto"/>
              </a:rPr>
              <a:t>Очный практикум</a:t>
            </a:r>
            <a:endParaRPr lang="ru-RU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67</TotalTime>
  <Words>910</Words>
  <Application>Microsoft Office PowerPoint</Application>
  <PresentationFormat>Произвольный</PresentationFormat>
  <Paragraphs>147</Paragraphs>
  <Slides>11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Шаблон оформления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Calibri</vt:lpstr>
      <vt:lpstr>Arial</vt:lpstr>
      <vt:lpstr>Calibri Light</vt:lpstr>
      <vt:lpstr>Open Sans Light</vt:lpstr>
      <vt:lpstr>Wingdings</vt:lpstr>
      <vt:lpstr>Open Sans</vt:lpstr>
      <vt:lpstr>Franklin Gothic Book</vt:lpstr>
      <vt:lpstr>Times New Roman</vt:lpstr>
      <vt:lpstr>Roboto</vt:lpstr>
      <vt:lpstr>Тема Office</vt:lpstr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УППА КОМПАНИЙ ПРОСВЕЩЕНИЕ — СИСТЕМЕ ОБРАЗОВАНИЯ</dc:title>
  <dc:creator>Мегдальский Денис Игоревич</dc:creator>
  <cp:lastModifiedBy>УНД-АРМ17</cp:lastModifiedBy>
  <cp:revision>265</cp:revision>
  <cp:lastPrinted>2020-08-19T07:45:21Z</cp:lastPrinted>
  <dcterms:created xsi:type="dcterms:W3CDTF">2019-08-12T18:04:10Z</dcterms:created>
  <dcterms:modified xsi:type="dcterms:W3CDTF">2020-09-04T10:05:10Z</dcterms:modified>
</cp:coreProperties>
</file>